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tif" ContentType="image/t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7"/>
  </p:notesMasterIdLst>
  <p:sldIdLst>
    <p:sldId id="256" r:id="rId2"/>
    <p:sldId id="265" r:id="rId3"/>
    <p:sldId id="267" r:id="rId4"/>
    <p:sldId id="281" r:id="rId5"/>
    <p:sldId id="278" r:id="rId6"/>
  </p:sldIdLst>
  <p:sldSz cx="24384000" cy="13716000"/>
  <p:notesSz cx="6858000" cy="91440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Light"/>
        <a:ea typeface="Helvetica Light"/>
        <a:cs typeface="Helvetica Light"/>
        <a:sym typeface="Helvetica Light"/>
      </a:defRPr>
    </a:lvl1pPr>
    <a:lvl2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Light"/>
        <a:ea typeface="Helvetica Light"/>
        <a:cs typeface="Helvetica Light"/>
        <a:sym typeface="Helvetica Light"/>
      </a:defRPr>
    </a:lvl2pPr>
    <a:lvl3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Light"/>
        <a:ea typeface="Helvetica Light"/>
        <a:cs typeface="Helvetica Light"/>
        <a:sym typeface="Helvetica Light"/>
      </a:defRPr>
    </a:lvl3pPr>
    <a:lvl4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Light"/>
        <a:ea typeface="Helvetica Light"/>
        <a:cs typeface="Helvetica Light"/>
        <a:sym typeface="Helvetica Light"/>
      </a:defRPr>
    </a:lvl4pPr>
    <a:lvl5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Light"/>
        <a:ea typeface="Helvetica Light"/>
        <a:cs typeface="Helvetica Light"/>
        <a:sym typeface="Helvetica Light"/>
      </a:defRPr>
    </a:lvl5pPr>
    <a:lvl6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Light"/>
        <a:ea typeface="Helvetica Light"/>
        <a:cs typeface="Helvetica Light"/>
        <a:sym typeface="Helvetica Light"/>
      </a:defRPr>
    </a:lvl6pPr>
    <a:lvl7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Light"/>
        <a:ea typeface="Helvetica Light"/>
        <a:cs typeface="Helvetica Light"/>
        <a:sym typeface="Helvetica Light"/>
      </a:defRPr>
    </a:lvl7pPr>
    <a:lvl8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Light"/>
        <a:ea typeface="Helvetica Light"/>
        <a:cs typeface="Helvetica Light"/>
        <a:sym typeface="Helvetica Light"/>
      </a:defRPr>
    </a:lvl8pPr>
    <a:lvl9pPr marL="0" marR="0" indent="0" algn="ctr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Light"/>
        <a:ea typeface="Helvetica Light"/>
        <a:cs typeface="Helvetica Light"/>
        <a:sym typeface="Helvetica Light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99B3E"/>
    <a:srgbClr val="E2188F"/>
    <a:srgbClr val="DCBD23"/>
    <a:srgbClr val="33CAFF"/>
    <a:srgbClr val="FFFFFF"/>
    <a:srgbClr val="0014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D2E8"/>
          </a:solidFill>
        </a:fill>
      </a:tcStyle>
    </a:wholeTbl>
    <a:band2H>
      <a:tcTxStyle/>
      <a:tcStyle>
        <a:tcBdr/>
        <a:fill>
          <a:solidFill>
            <a:srgbClr val="E6EAF4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2E7CB"/>
          </a:solidFill>
        </a:fill>
      </a:tcStyle>
    </a:wholeTbl>
    <a:band2H>
      <a:tcTxStyle/>
      <a:tcStyle>
        <a:tcBdr/>
        <a:fill>
          <a:solidFill>
            <a:srgbClr val="F8F4E7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EEE7283C-3CF3-47DC-8721-378D4A62B228}" styleName="">
    <a:tblBg/>
    <a:wholeTbl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5CDDE"/>
          </a:solidFill>
        </a:fill>
      </a:tcStyle>
    </a:wholeTbl>
    <a:band2H>
      <a:tcTxStyle/>
      <a:tcStyle>
        <a:tcBdr/>
        <a:fill>
          <a:solidFill>
            <a:srgbClr val="EBE8EF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CF821DB8-F4EB-4A41-A1BA-3FCAFE7338EE}" styleName="">
    <a:tblBg/>
    <a:wholeTbl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33BA23B1-9221-436E-865A-0063620EA4FD}" styleName="">
    <a:tblBg/>
    <a:wholeTbl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Row>
  </a:tblStyle>
  <a:tblStyle styleId="{2708684C-4D16-4618-839F-0558EEFCDFE6}" styleName="">
    <a:tblBg/>
    <a:wholeTbl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lastRow>
    <a:fir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33" d="100"/>
          <a:sy n="33" d="100"/>
        </p:scale>
        <p:origin x="83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Shape 46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47" name="Shape 47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defTabSz="457200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1pPr>
    <a:lvl2pPr indent="228600" defTabSz="457200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2pPr>
    <a:lvl3pPr indent="457200" defTabSz="457200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3pPr>
    <a:lvl4pPr indent="685800" defTabSz="457200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4pPr>
    <a:lvl5pPr indent="914400" defTabSz="457200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5pPr>
    <a:lvl6pPr indent="1143000" defTabSz="457200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6pPr>
    <a:lvl7pPr indent="1371600" defTabSz="457200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7pPr>
    <a:lvl8pPr indent="1600200" defTabSz="457200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8pPr>
    <a:lvl9pPr indent="1828800" defTabSz="457200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1.tif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41582" y="5010"/>
            <a:ext cx="8300836" cy="207523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Shape 14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5" name="Shape 15"/>
          <p:cNvSpPr>
            <a:spLocks noGrp="1"/>
          </p:cNvSpPr>
          <p:nvPr>
            <p:ph type="title"/>
          </p:nvPr>
        </p:nvSpPr>
        <p:spPr>
          <a:xfrm>
            <a:off x="1778000" y="2298700"/>
            <a:ext cx="20828000" cy="4648200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/>
          <a:lstStyle/>
          <a:p>
            <a:r>
              <a:t>Title Text</a:t>
            </a:r>
          </a:p>
        </p:txBody>
      </p:sp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&amp; Subtitle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hape 22"/>
          <p:cNvSpPr>
            <a:spLocks noGrp="1"/>
          </p:cNvSpPr>
          <p:nvPr>
            <p:ph type="title"/>
          </p:nvPr>
        </p:nvSpPr>
        <p:spPr>
          <a:xfrm>
            <a:off x="1778000" y="4941816"/>
            <a:ext cx="20828000" cy="2005085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/>
          <a:lstStyle>
            <a:lvl1pPr>
              <a:defRPr>
                <a:solidFill>
                  <a:srgbClr val="00148C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23" name="Shape 23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Subtitle cop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hape 3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1_Title &amp; Subtitle copy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Shape 37"/>
          <p:cNvSpPr/>
          <p:nvPr/>
        </p:nvSpPr>
        <p:spPr>
          <a:xfrm>
            <a:off x="-29426" y="-37890"/>
            <a:ext cx="24442854" cy="1986167"/>
          </a:xfrm>
          <a:prstGeom prst="rect">
            <a:avLst/>
          </a:prstGeom>
          <a:solidFill>
            <a:srgbClr val="00148C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>
              <a:defRPr sz="3200"/>
            </a:pPr>
            <a:endParaRPr/>
          </a:p>
        </p:txBody>
      </p:sp>
      <p:sp>
        <p:nvSpPr>
          <p:cNvPr id="38" name="Shape 3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39" name="image2.tif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11501" y="12680732"/>
            <a:ext cx="2705336" cy="866521"/>
          </a:xfrm>
          <a:prstGeom prst="rect">
            <a:avLst/>
          </a:prstGeom>
          <a:ln w="12700">
            <a:miter lim="400000"/>
          </a:ln>
        </p:spPr>
      </p:pic>
      <p:sp>
        <p:nvSpPr>
          <p:cNvPr id="40" name="Shape 40"/>
          <p:cNvSpPr/>
          <p:nvPr/>
        </p:nvSpPr>
        <p:spPr>
          <a:xfrm>
            <a:off x="-29426" y="1939854"/>
            <a:ext cx="24442854" cy="211625"/>
          </a:xfrm>
          <a:prstGeom prst="rect">
            <a:avLst/>
          </a:prstGeom>
          <a:solidFill>
            <a:srgbClr val="51A8F9">
              <a:alpha val="55064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>
              <a:defRPr sz="3200">
                <a:solidFill>
                  <a:srgbClr val="174F86"/>
                </a:solidFill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830696211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0F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/>
          <p:nvPr/>
        </p:nvSpPr>
        <p:spPr>
          <a:xfrm>
            <a:off x="-29426" y="12099452"/>
            <a:ext cx="24442854" cy="1662396"/>
          </a:xfrm>
          <a:prstGeom prst="rect">
            <a:avLst/>
          </a:prstGeom>
          <a:solidFill>
            <a:srgbClr val="00148C"/>
          </a:solidFill>
          <a:ln w="25400">
            <a:solidFill>
              <a:srgbClr val="85888D"/>
            </a:solidFill>
            <a:miter lim="400000"/>
          </a:ln>
        </p:spPr>
        <p:txBody>
          <a:bodyPr lIns="50800" tIns="50800" rIns="50800" bIns="50800" anchor="ctr"/>
          <a:lstStyle/>
          <a:p>
            <a:pPr>
              <a:defRPr sz="3200"/>
            </a:pPr>
            <a:endParaRPr/>
          </a:p>
        </p:txBody>
      </p:sp>
      <p:sp>
        <p:nvSpPr>
          <p:cNvPr id="3" name="Shape 3"/>
          <p:cNvSpPr/>
          <p:nvPr/>
        </p:nvSpPr>
        <p:spPr>
          <a:xfrm>
            <a:off x="-29426" y="-24396"/>
            <a:ext cx="24442854" cy="268552"/>
          </a:xfrm>
          <a:prstGeom prst="rect">
            <a:avLst/>
          </a:prstGeom>
          <a:solidFill>
            <a:srgbClr val="00148C"/>
          </a:solidFill>
          <a:ln w="25400">
            <a:solidFill>
              <a:srgbClr val="85888D"/>
            </a:solidFill>
            <a:miter lim="400000"/>
          </a:ln>
        </p:spPr>
        <p:txBody>
          <a:bodyPr lIns="50800" tIns="50800" rIns="50800" bIns="50800" anchor="ctr"/>
          <a:lstStyle/>
          <a:p>
            <a:pPr>
              <a:defRPr sz="3200"/>
            </a:pPr>
            <a:endParaRPr/>
          </a:p>
        </p:txBody>
      </p:sp>
      <p:sp>
        <p:nvSpPr>
          <p:cNvPr id="4" name="Shape 4"/>
          <p:cNvSpPr>
            <a:spLocks noGrp="1"/>
          </p:cNvSpPr>
          <p:nvPr>
            <p:ph type="sldNum" sz="quarter" idx="2"/>
          </p:nvPr>
        </p:nvSpPr>
        <p:spPr>
          <a:xfrm>
            <a:off x="22782707" y="12472641"/>
            <a:ext cx="718821" cy="762001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>
            <a:spAutoFit/>
          </a:bodyPr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5" name="Shape 5"/>
          <p:cNvSpPr>
            <a:spLocks noGrp="1"/>
          </p:cNvSpPr>
          <p:nvPr>
            <p:ph type="title"/>
          </p:nvPr>
        </p:nvSpPr>
        <p:spPr>
          <a:xfrm>
            <a:off x="3653366" y="0"/>
            <a:ext cx="19507201" cy="3673475"/>
          </a:xfrm>
          <a:prstGeom prst="rect">
            <a:avLst/>
          </a:prstGeom>
          <a:ln w="12700">
            <a:miter lim="400000"/>
          </a:ln>
        </p:spPr>
        <p:txBody>
          <a:bodyPr lIns="50800" tIns="50800" rIns="50800" bIns="50800" anchor="b">
            <a:normAutofit/>
          </a:bodyPr>
          <a:lstStyle/>
          <a:p>
            <a:endParaRPr/>
          </a:p>
        </p:txBody>
      </p:sp>
      <p:sp>
        <p:nvSpPr>
          <p:cNvPr id="6" name="Shape 6"/>
          <p:cNvSpPr>
            <a:spLocks noGrp="1"/>
          </p:cNvSpPr>
          <p:nvPr>
            <p:ph type="body" idx="1"/>
          </p:nvPr>
        </p:nvSpPr>
        <p:spPr>
          <a:xfrm>
            <a:off x="13610166" y="4876800"/>
            <a:ext cx="9550401" cy="8839200"/>
          </a:xfrm>
          <a:prstGeom prst="rect">
            <a:avLst/>
          </a:prstGeom>
          <a:ln w="12700">
            <a:miter lim="400000"/>
          </a:ln>
        </p:spPr>
        <p:txBody>
          <a:bodyPr lIns="50800" tIns="50800" rIns="50800" bIns="50800">
            <a:normAutofit/>
          </a:bodyPr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3" r:id="rId4"/>
  </p:sldLayoutIdLst>
  <p:transition spd="med"/>
  <p:txStyles>
    <p:titleStyle>
      <a:lvl1pPr marL="0" marR="0" indent="0" algn="l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0" b="1" i="0" u="none" strike="noStrike" cap="none" spc="-199" baseline="0">
          <a:ln>
            <a:noFill/>
          </a:ln>
          <a:solidFill>
            <a:srgbClr val="1E008B"/>
          </a:solidFill>
          <a:uFillTx/>
          <a:latin typeface="+mj-lt"/>
          <a:ea typeface="+mj-ea"/>
          <a:cs typeface="+mj-cs"/>
          <a:sym typeface="Helvetica"/>
        </a:defRPr>
      </a:lvl1pPr>
      <a:lvl2pPr marL="0" marR="0" indent="0" algn="l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0" b="1" i="0" u="none" strike="noStrike" cap="none" spc="-199" baseline="0">
          <a:ln>
            <a:noFill/>
          </a:ln>
          <a:solidFill>
            <a:srgbClr val="1E008B"/>
          </a:solidFill>
          <a:uFillTx/>
          <a:latin typeface="+mj-lt"/>
          <a:ea typeface="+mj-ea"/>
          <a:cs typeface="+mj-cs"/>
          <a:sym typeface="Helvetica"/>
        </a:defRPr>
      </a:lvl2pPr>
      <a:lvl3pPr marL="0" marR="0" indent="0" algn="l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0" b="1" i="0" u="none" strike="noStrike" cap="none" spc="-199" baseline="0">
          <a:ln>
            <a:noFill/>
          </a:ln>
          <a:solidFill>
            <a:srgbClr val="1E008B"/>
          </a:solidFill>
          <a:uFillTx/>
          <a:latin typeface="+mj-lt"/>
          <a:ea typeface="+mj-ea"/>
          <a:cs typeface="+mj-cs"/>
          <a:sym typeface="Helvetica"/>
        </a:defRPr>
      </a:lvl3pPr>
      <a:lvl4pPr marL="0" marR="0" indent="0" algn="l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0" b="1" i="0" u="none" strike="noStrike" cap="none" spc="-199" baseline="0">
          <a:ln>
            <a:noFill/>
          </a:ln>
          <a:solidFill>
            <a:srgbClr val="1E008B"/>
          </a:solidFill>
          <a:uFillTx/>
          <a:latin typeface="+mj-lt"/>
          <a:ea typeface="+mj-ea"/>
          <a:cs typeface="+mj-cs"/>
          <a:sym typeface="Helvetica"/>
        </a:defRPr>
      </a:lvl4pPr>
      <a:lvl5pPr marL="0" marR="0" indent="0" algn="l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0" b="1" i="0" u="none" strike="noStrike" cap="none" spc="-199" baseline="0">
          <a:ln>
            <a:noFill/>
          </a:ln>
          <a:solidFill>
            <a:srgbClr val="1E008B"/>
          </a:solidFill>
          <a:uFillTx/>
          <a:latin typeface="+mj-lt"/>
          <a:ea typeface="+mj-ea"/>
          <a:cs typeface="+mj-cs"/>
          <a:sym typeface="Helvetica"/>
        </a:defRPr>
      </a:lvl5pPr>
      <a:lvl6pPr marL="0" marR="0" indent="0" algn="l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0" b="1" i="0" u="none" strike="noStrike" cap="none" spc="-199" baseline="0">
          <a:ln>
            <a:noFill/>
          </a:ln>
          <a:solidFill>
            <a:srgbClr val="1E008B"/>
          </a:solidFill>
          <a:uFillTx/>
          <a:latin typeface="+mj-lt"/>
          <a:ea typeface="+mj-ea"/>
          <a:cs typeface="+mj-cs"/>
          <a:sym typeface="Helvetica"/>
        </a:defRPr>
      </a:lvl6pPr>
      <a:lvl7pPr marL="0" marR="0" indent="0" algn="l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0" b="1" i="0" u="none" strike="noStrike" cap="none" spc="-199" baseline="0">
          <a:ln>
            <a:noFill/>
          </a:ln>
          <a:solidFill>
            <a:srgbClr val="1E008B"/>
          </a:solidFill>
          <a:uFillTx/>
          <a:latin typeface="+mj-lt"/>
          <a:ea typeface="+mj-ea"/>
          <a:cs typeface="+mj-cs"/>
          <a:sym typeface="Helvetica"/>
        </a:defRPr>
      </a:lvl7pPr>
      <a:lvl8pPr marL="0" marR="0" indent="0" algn="l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0" b="1" i="0" u="none" strike="noStrike" cap="none" spc="-199" baseline="0">
          <a:ln>
            <a:noFill/>
          </a:ln>
          <a:solidFill>
            <a:srgbClr val="1E008B"/>
          </a:solidFill>
          <a:uFillTx/>
          <a:latin typeface="+mj-lt"/>
          <a:ea typeface="+mj-ea"/>
          <a:cs typeface="+mj-cs"/>
          <a:sym typeface="Helvetica"/>
        </a:defRPr>
      </a:lvl8pPr>
      <a:lvl9pPr marL="0" marR="0" indent="0" algn="l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0" b="1" i="0" u="none" strike="noStrike" cap="none" spc="-199" baseline="0">
          <a:ln>
            <a:noFill/>
          </a:ln>
          <a:solidFill>
            <a:srgbClr val="1E008B"/>
          </a:solidFill>
          <a:uFillTx/>
          <a:latin typeface="+mj-lt"/>
          <a:ea typeface="+mj-ea"/>
          <a:cs typeface="+mj-cs"/>
          <a:sym typeface="Helvetica"/>
        </a:defRPr>
      </a:lvl9pPr>
    </p:titleStyle>
    <p:bodyStyle>
      <a:lvl1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Light"/>
          <a:ea typeface="Helvetica Light"/>
          <a:cs typeface="Helvetica Light"/>
          <a:sym typeface="Helvetica Light"/>
        </a:defRPr>
      </a:lvl1pPr>
      <a:lvl2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Light"/>
          <a:ea typeface="Helvetica Light"/>
          <a:cs typeface="Helvetica Light"/>
          <a:sym typeface="Helvetica Light"/>
        </a:defRPr>
      </a:lvl2pPr>
      <a:lvl3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Light"/>
          <a:ea typeface="Helvetica Light"/>
          <a:cs typeface="Helvetica Light"/>
          <a:sym typeface="Helvetica Light"/>
        </a:defRPr>
      </a:lvl3pPr>
      <a:lvl4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Light"/>
          <a:ea typeface="Helvetica Light"/>
          <a:cs typeface="Helvetica Light"/>
          <a:sym typeface="Helvetica Light"/>
        </a:defRPr>
      </a:lvl4pPr>
      <a:lvl5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Light"/>
          <a:ea typeface="Helvetica Light"/>
          <a:cs typeface="Helvetica Light"/>
          <a:sym typeface="Helvetica Light"/>
        </a:defRPr>
      </a:lvl5pPr>
      <a:lvl6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Light"/>
          <a:ea typeface="Helvetica Light"/>
          <a:cs typeface="Helvetica Light"/>
          <a:sym typeface="Helvetica Light"/>
        </a:defRPr>
      </a:lvl6pPr>
      <a:lvl7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Light"/>
          <a:ea typeface="Helvetica Light"/>
          <a:cs typeface="Helvetica Light"/>
          <a:sym typeface="Helvetica Light"/>
        </a:defRPr>
      </a:lvl7pPr>
      <a:lvl8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Light"/>
          <a:ea typeface="Helvetica Light"/>
          <a:cs typeface="Helvetica Light"/>
          <a:sym typeface="Helvetica Light"/>
        </a:defRPr>
      </a:lvl8pPr>
      <a:lvl9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Light"/>
          <a:ea typeface="Helvetica Light"/>
          <a:cs typeface="Helvetica Light"/>
          <a:sym typeface="Helvetica Light"/>
        </a:defRPr>
      </a:lvl9pPr>
    </p:bodyStyle>
    <p:otherStyle>
      <a:lvl1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96D7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49"/>
          <p:cNvSpPr>
            <a:spLocks noGrp="1"/>
          </p:cNvSpPr>
          <p:nvPr>
            <p:ph type="sldNum" sz="quarter" idx="2"/>
          </p:nvPr>
        </p:nvSpPr>
        <p:spPr>
          <a:xfrm>
            <a:off x="23051033" y="12866342"/>
            <a:ext cx="182170" cy="368301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/>
          <a:lstStyle>
            <a:lvl1pPr>
              <a:defRPr sz="2400">
                <a:solidFill>
                  <a:srgbClr val="53585F"/>
                </a:solidFill>
              </a:defRPr>
            </a:lvl1pPr>
          </a:lstStyle>
          <a:p>
            <a:fld id="{86CB4B4D-7CA3-9044-876B-883B54F8677D}" type="slidenum">
              <a:t>1</a:t>
            </a:fld>
            <a:endParaRPr/>
          </a:p>
        </p:txBody>
      </p:sp>
      <p:sp>
        <p:nvSpPr>
          <p:cNvPr id="50" name="Shape 50"/>
          <p:cNvSpPr>
            <a:spLocks noGrp="1"/>
          </p:cNvSpPr>
          <p:nvPr>
            <p:ph type="title"/>
          </p:nvPr>
        </p:nvSpPr>
        <p:spPr>
          <a:xfrm>
            <a:off x="1778000" y="4941816"/>
            <a:ext cx="20828000" cy="2005085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52" name="Shape 52"/>
          <p:cNvSpPr/>
          <p:nvPr/>
        </p:nvSpPr>
        <p:spPr>
          <a:xfrm>
            <a:off x="0" y="-5450"/>
            <a:ext cx="24384000" cy="13716002"/>
          </a:xfrm>
          <a:prstGeom prst="rect">
            <a:avLst/>
          </a:prstGeom>
          <a:solidFill>
            <a:srgbClr val="00148C">
              <a:alpha val="88882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defTabSz="1828432">
              <a:defRPr sz="3600">
                <a:solidFill>
                  <a:srgbClr val="00148C"/>
                </a:solidFill>
                <a:latin typeface="+mj-lt"/>
                <a:ea typeface="+mj-ea"/>
                <a:cs typeface="+mj-cs"/>
                <a:sym typeface="Helvetica"/>
              </a:defRPr>
            </a:pPr>
            <a:endParaRPr/>
          </a:p>
        </p:txBody>
      </p:sp>
      <p:sp>
        <p:nvSpPr>
          <p:cNvPr id="53" name="Shape 53"/>
          <p:cNvSpPr/>
          <p:nvPr/>
        </p:nvSpPr>
        <p:spPr>
          <a:xfrm>
            <a:off x="1308836" y="8230307"/>
            <a:ext cx="11829000" cy="83843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 marR="5080" indent="12700" algn="l" defTabSz="914400">
              <a:lnSpc>
                <a:spcPct val="120300"/>
              </a:lnSpc>
              <a:defRPr b="1" spc="43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dirty="0">
                <a:solidFill>
                  <a:schemeClr val="bg1"/>
                </a:solidFill>
              </a:rPr>
              <a:t>October </a:t>
            </a:r>
            <a:r>
              <a:rPr cap="all" spc="51" dirty="0">
                <a:solidFill>
                  <a:schemeClr val="bg1"/>
                </a:solidFill>
              </a:rPr>
              <a:t>2019</a:t>
            </a:r>
          </a:p>
        </p:txBody>
      </p:sp>
      <p:sp>
        <p:nvSpPr>
          <p:cNvPr id="54" name="Shape 54"/>
          <p:cNvSpPr/>
          <p:nvPr/>
        </p:nvSpPr>
        <p:spPr>
          <a:xfrm>
            <a:off x="1320815" y="5127814"/>
            <a:ext cx="13211614" cy="307961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normAutofit/>
          </a:bodyPr>
          <a:lstStyle/>
          <a:p>
            <a:pPr marR="5080" indent="12700" algn="l" defTabSz="914400">
              <a:lnSpc>
                <a:spcPts val="9800"/>
              </a:lnSpc>
              <a:defRPr sz="10000" b="1" baseline="-10539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12000" dirty="0">
                <a:solidFill>
                  <a:srgbClr val="DCBD23"/>
                </a:solidFill>
              </a:rPr>
              <a:t>Transitioning to Electric Fleet Vehicles (“EFVs”)</a:t>
            </a:r>
          </a:p>
          <a:p>
            <a:pPr marR="5080" indent="12700" algn="l" defTabSz="914400">
              <a:lnSpc>
                <a:spcPts val="9800"/>
              </a:lnSpc>
              <a:defRPr sz="10000" b="1" baseline="-10539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lang="en-US" sz="12000" dirty="0">
              <a:solidFill>
                <a:srgbClr val="DCBD23"/>
              </a:solidFill>
            </a:endParaRPr>
          </a:p>
        </p:txBody>
      </p:sp>
      <p:pic>
        <p:nvPicPr>
          <p:cNvPr id="55" name="image2.png"/>
          <p:cNvPicPr>
            <a:picLocks noChangeAspect="1"/>
          </p:cNvPicPr>
          <p:nvPr/>
        </p:nvPicPr>
        <p:blipFill>
          <a:blip r:embed="rId2"/>
          <a:srcRect l="7480" t="27065" r="32611"/>
          <a:stretch>
            <a:fillRect/>
          </a:stretch>
        </p:blipFill>
        <p:spPr>
          <a:xfrm rot="5400000" flipH="1">
            <a:off x="12813819" y="1942524"/>
            <a:ext cx="13577573" cy="9576873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75" name="Group 75"/>
          <p:cNvGrpSpPr/>
          <p:nvPr/>
        </p:nvGrpSpPr>
        <p:grpSpPr>
          <a:xfrm>
            <a:off x="1370781" y="847730"/>
            <a:ext cx="4520926" cy="934202"/>
            <a:chOff x="0" y="0"/>
            <a:chExt cx="4520925" cy="934200"/>
          </a:xfrm>
        </p:grpSpPr>
        <p:sp>
          <p:nvSpPr>
            <p:cNvPr id="56" name="Shape 56"/>
            <p:cNvSpPr/>
            <p:nvPr/>
          </p:nvSpPr>
          <p:spPr>
            <a:xfrm>
              <a:off x="3840354" y="0"/>
              <a:ext cx="179657" cy="1796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927"/>
                  </a:moveTo>
                  <a:lnTo>
                    <a:pt x="10673" y="21600"/>
                  </a:lnTo>
                  <a:lnTo>
                    <a:pt x="0" y="10927"/>
                  </a:lnTo>
                  <a:lnTo>
                    <a:pt x="10673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algn="l" defTabSz="914400">
                <a:spcBef>
                  <a:spcPts val="600"/>
                </a:spcBef>
                <a:defRPr sz="1800" b="1">
                  <a:solidFill>
                    <a:srgbClr val="00148C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57" name="Shape 57"/>
            <p:cNvSpPr/>
            <p:nvPr/>
          </p:nvSpPr>
          <p:spPr>
            <a:xfrm>
              <a:off x="3867831" y="272650"/>
              <a:ext cx="122590" cy="469216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algn="l" defTabSz="914400">
                <a:spcBef>
                  <a:spcPts val="600"/>
                </a:spcBef>
                <a:defRPr sz="1800" b="1">
                  <a:solidFill>
                    <a:srgbClr val="00148C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58" name="Shape 58"/>
            <p:cNvSpPr/>
            <p:nvPr/>
          </p:nvSpPr>
          <p:spPr>
            <a:xfrm>
              <a:off x="0" y="276878"/>
              <a:ext cx="365649" cy="46710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586"/>
                  </a:moveTo>
                  <a:lnTo>
                    <a:pt x="3246" y="586"/>
                  </a:lnTo>
                  <a:lnTo>
                    <a:pt x="3246" y="4203"/>
                  </a:lnTo>
                  <a:lnTo>
                    <a:pt x="3371" y="4203"/>
                  </a:lnTo>
                  <a:cubicBezTo>
                    <a:pt x="4495" y="1662"/>
                    <a:pt x="8116" y="0"/>
                    <a:pt x="11861" y="0"/>
                  </a:cubicBezTo>
                  <a:cubicBezTo>
                    <a:pt x="19353" y="0"/>
                    <a:pt x="21600" y="3128"/>
                    <a:pt x="21600" y="8112"/>
                  </a:cubicBezTo>
                  <a:lnTo>
                    <a:pt x="21600" y="21600"/>
                  </a:lnTo>
                  <a:lnTo>
                    <a:pt x="18354" y="21600"/>
                  </a:lnTo>
                  <a:lnTo>
                    <a:pt x="18354" y="8503"/>
                  </a:lnTo>
                  <a:cubicBezTo>
                    <a:pt x="18354" y="4887"/>
                    <a:pt x="16856" y="2150"/>
                    <a:pt x="11612" y="2150"/>
                  </a:cubicBezTo>
                  <a:cubicBezTo>
                    <a:pt x="6492" y="2150"/>
                    <a:pt x="3371" y="5278"/>
                    <a:pt x="3246" y="9285"/>
                  </a:cubicBezTo>
                  <a:lnTo>
                    <a:pt x="3246" y="21502"/>
                  </a:lnTo>
                  <a:lnTo>
                    <a:pt x="0" y="21502"/>
                  </a:lnTo>
                  <a:lnTo>
                    <a:pt x="0" y="586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algn="l" defTabSz="914400">
                <a:spcBef>
                  <a:spcPts val="600"/>
                </a:spcBef>
                <a:defRPr sz="1800" b="1">
                  <a:solidFill>
                    <a:srgbClr val="00148C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59" name="Shape 59"/>
            <p:cNvSpPr/>
            <p:nvPr/>
          </p:nvSpPr>
          <p:spPr>
            <a:xfrm>
              <a:off x="0" y="276878"/>
              <a:ext cx="365649" cy="46710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586"/>
                  </a:moveTo>
                  <a:lnTo>
                    <a:pt x="3246" y="586"/>
                  </a:lnTo>
                  <a:lnTo>
                    <a:pt x="3246" y="4203"/>
                  </a:lnTo>
                  <a:lnTo>
                    <a:pt x="3371" y="4203"/>
                  </a:lnTo>
                  <a:cubicBezTo>
                    <a:pt x="4620" y="1662"/>
                    <a:pt x="8116" y="0"/>
                    <a:pt x="11861" y="0"/>
                  </a:cubicBezTo>
                  <a:cubicBezTo>
                    <a:pt x="19353" y="0"/>
                    <a:pt x="21600" y="3128"/>
                    <a:pt x="21600" y="8112"/>
                  </a:cubicBezTo>
                  <a:lnTo>
                    <a:pt x="21600" y="21600"/>
                  </a:lnTo>
                  <a:lnTo>
                    <a:pt x="18354" y="21600"/>
                  </a:lnTo>
                  <a:lnTo>
                    <a:pt x="18354" y="8503"/>
                  </a:lnTo>
                  <a:cubicBezTo>
                    <a:pt x="18354" y="4887"/>
                    <a:pt x="16856" y="2150"/>
                    <a:pt x="11612" y="2150"/>
                  </a:cubicBezTo>
                  <a:cubicBezTo>
                    <a:pt x="6492" y="2150"/>
                    <a:pt x="3371" y="5278"/>
                    <a:pt x="3246" y="9383"/>
                  </a:cubicBezTo>
                  <a:lnTo>
                    <a:pt x="3246" y="21600"/>
                  </a:lnTo>
                  <a:lnTo>
                    <a:pt x="0" y="21600"/>
                  </a:lnTo>
                  <a:lnTo>
                    <a:pt x="0" y="586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algn="l" defTabSz="914400">
                <a:spcBef>
                  <a:spcPts val="600"/>
                </a:spcBef>
                <a:defRPr sz="1800" b="1">
                  <a:solidFill>
                    <a:srgbClr val="00148C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0" name="Shape 60"/>
            <p:cNvSpPr/>
            <p:nvPr/>
          </p:nvSpPr>
          <p:spPr>
            <a:xfrm>
              <a:off x="443849" y="276878"/>
              <a:ext cx="418489" cy="4818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255" y="9758"/>
                  </a:moveTo>
                  <a:cubicBezTo>
                    <a:pt x="15818" y="10326"/>
                    <a:pt x="14509" y="10516"/>
                    <a:pt x="13745" y="10705"/>
                  </a:cubicBezTo>
                  <a:cubicBezTo>
                    <a:pt x="8945" y="11463"/>
                    <a:pt x="2945" y="11368"/>
                    <a:pt x="2945" y="15347"/>
                  </a:cubicBezTo>
                  <a:cubicBezTo>
                    <a:pt x="2945" y="17811"/>
                    <a:pt x="5455" y="19326"/>
                    <a:pt x="8182" y="19326"/>
                  </a:cubicBezTo>
                  <a:cubicBezTo>
                    <a:pt x="12545" y="19326"/>
                    <a:pt x="16364" y="16958"/>
                    <a:pt x="16255" y="12979"/>
                  </a:cubicBezTo>
                  <a:lnTo>
                    <a:pt x="16255" y="9758"/>
                  </a:lnTo>
                  <a:close/>
                  <a:moveTo>
                    <a:pt x="1091" y="6821"/>
                  </a:moveTo>
                  <a:cubicBezTo>
                    <a:pt x="1309" y="2084"/>
                    <a:pt x="5236" y="0"/>
                    <a:pt x="10473" y="0"/>
                  </a:cubicBezTo>
                  <a:cubicBezTo>
                    <a:pt x="14618" y="0"/>
                    <a:pt x="19091" y="1137"/>
                    <a:pt x="19091" y="6537"/>
                  </a:cubicBezTo>
                  <a:lnTo>
                    <a:pt x="19091" y="17337"/>
                  </a:lnTo>
                  <a:cubicBezTo>
                    <a:pt x="19091" y="18284"/>
                    <a:pt x="19636" y="18853"/>
                    <a:pt x="20727" y="18853"/>
                  </a:cubicBezTo>
                  <a:cubicBezTo>
                    <a:pt x="21055" y="18853"/>
                    <a:pt x="21382" y="18758"/>
                    <a:pt x="21600" y="18663"/>
                  </a:cubicBezTo>
                  <a:lnTo>
                    <a:pt x="21600" y="20747"/>
                  </a:lnTo>
                  <a:cubicBezTo>
                    <a:pt x="20945" y="20842"/>
                    <a:pt x="20509" y="20937"/>
                    <a:pt x="19745" y="20937"/>
                  </a:cubicBezTo>
                  <a:cubicBezTo>
                    <a:pt x="16909" y="20937"/>
                    <a:pt x="16364" y="19516"/>
                    <a:pt x="16364" y="17432"/>
                  </a:cubicBezTo>
                  <a:cubicBezTo>
                    <a:pt x="14400" y="20084"/>
                    <a:pt x="12327" y="21600"/>
                    <a:pt x="7855" y="21600"/>
                  </a:cubicBezTo>
                  <a:cubicBezTo>
                    <a:pt x="3600" y="21600"/>
                    <a:pt x="0" y="19705"/>
                    <a:pt x="0" y="15632"/>
                  </a:cubicBezTo>
                  <a:cubicBezTo>
                    <a:pt x="0" y="9947"/>
                    <a:pt x="6327" y="9758"/>
                    <a:pt x="12545" y="9095"/>
                  </a:cubicBezTo>
                  <a:cubicBezTo>
                    <a:pt x="14945" y="8905"/>
                    <a:pt x="16145" y="8621"/>
                    <a:pt x="16145" y="6347"/>
                  </a:cubicBezTo>
                  <a:cubicBezTo>
                    <a:pt x="16145" y="3032"/>
                    <a:pt x="13418" y="2179"/>
                    <a:pt x="10036" y="2179"/>
                  </a:cubicBezTo>
                  <a:cubicBezTo>
                    <a:pt x="6545" y="2179"/>
                    <a:pt x="3927" y="3600"/>
                    <a:pt x="3818" y="6916"/>
                  </a:cubicBezTo>
                  <a:lnTo>
                    <a:pt x="1091" y="6916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algn="l" defTabSz="914400">
                <a:spcBef>
                  <a:spcPts val="600"/>
                </a:spcBef>
                <a:defRPr sz="1800" b="1">
                  <a:solidFill>
                    <a:srgbClr val="00148C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1" name="Shape 61"/>
            <p:cNvSpPr/>
            <p:nvPr/>
          </p:nvSpPr>
          <p:spPr>
            <a:xfrm>
              <a:off x="896152" y="154290"/>
              <a:ext cx="224041" cy="5939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838" y="4920"/>
                  </a:moveTo>
                  <a:lnTo>
                    <a:pt x="21600" y="4920"/>
                  </a:lnTo>
                  <a:lnTo>
                    <a:pt x="21600" y="6611"/>
                  </a:lnTo>
                  <a:lnTo>
                    <a:pt x="12838" y="6611"/>
                  </a:lnTo>
                  <a:lnTo>
                    <a:pt x="12838" y="17757"/>
                  </a:lnTo>
                  <a:cubicBezTo>
                    <a:pt x="12838" y="19063"/>
                    <a:pt x="13449" y="19832"/>
                    <a:pt x="17117" y="19909"/>
                  </a:cubicBezTo>
                  <a:cubicBezTo>
                    <a:pt x="18543" y="19909"/>
                    <a:pt x="20174" y="19909"/>
                    <a:pt x="21600" y="19832"/>
                  </a:cubicBezTo>
                  <a:lnTo>
                    <a:pt x="21600" y="21523"/>
                  </a:lnTo>
                  <a:cubicBezTo>
                    <a:pt x="19970" y="21523"/>
                    <a:pt x="18543" y="21600"/>
                    <a:pt x="16913" y="21600"/>
                  </a:cubicBezTo>
                  <a:cubicBezTo>
                    <a:pt x="9781" y="21600"/>
                    <a:pt x="7336" y="20678"/>
                    <a:pt x="7540" y="17910"/>
                  </a:cubicBezTo>
                  <a:lnTo>
                    <a:pt x="7540" y="6611"/>
                  </a:lnTo>
                  <a:lnTo>
                    <a:pt x="0" y="6611"/>
                  </a:lnTo>
                  <a:lnTo>
                    <a:pt x="0" y="4920"/>
                  </a:lnTo>
                  <a:lnTo>
                    <a:pt x="7540" y="4920"/>
                  </a:lnTo>
                  <a:lnTo>
                    <a:pt x="7540" y="0"/>
                  </a:lnTo>
                  <a:lnTo>
                    <a:pt x="12838" y="0"/>
                  </a:lnTo>
                  <a:lnTo>
                    <a:pt x="12838" y="492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algn="l" defTabSz="914400">
                <a:spcBef>
                  <a:spcPts val="600"/>
                </a:spcBef>
                <a:defRPr sz="1800" b="1">
                  <a:solidFill>
                    <a:srgbClr val="00148C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2" name="Shape 62"/>
            <p:cNvSpPr/>
            <p:nvPr/>
          </p:nvSpPr>
          <p:spPr>
            <a:xfrm>
              <a:off x="896152" y="154290"/>
              <a:ext cx="224041" cy="5939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838" y="4920"/>
                  </a:moveTo>
                  <a:lnTo>
                    <a:pt x="21600" y="4920"/>
                  </a:lnTo>
                  <a:lnTo>
                    <a:pt x="21600" y="6611"/>
                  </a:lnTo>
                  <a:lnTo>
                    <a:pt x="12838" y="6611"/>
                  </a:lnTo>
                  <a:lnTo>
                    <a:pt x="12838" y="17757"/>
                  </a:lnTo>
                  <a:cubicBezTo>
                    <a:pt x="12838" y="19063"/>
                    <a:pt x="13449" y="19832"/>
                    <a:pt x="17117" y="19909"/>
                  </a:cubicBezTo>
                  <a:cubicBezTo>
                    <a:pt x="18543" y="19909"/>
                    <a:pt x="20174" y="19909"/>
                    <a:pt x="21600" y="19832"/>
                  </a:cubicBezTo>
                  <a:lnTo>
                    <a:pt x="21600" y="21523"/>
                  </a:lnTo>
                  <a:cubicBezTo>
                    <a:pt x="19970" y="21523"/>
                    <a:pt x="18543" y="21600"/>
                    <a:pt x="16913" y="21600"/>
                  </a:cubicBezTo>
                  <a:cubicBezTo>
                    <a:pt x="9781" y="21600"/>
                    <a:pt x="7336" y="20678"/>
                    <a:pt x="7540" y="17910"/>
                  </a:cubicBezTo>
                  <a:lnTo>
                    <a:pt x="7540" y="6611"/>
                  </a:lnTo>
                  <a:lnTo>
                    <a:pt x="0" y="6611"/>
                  </a:lnTo>
                  <a:lnTo>
                    <a:pt x="0" y="4920"/>
                  </a:lnTo>
                  <a:lnTo>
                    <a:pt x="7540" y="4920"/>
                  </a:lnTo>
                  <a:lnTo>
                    <a:pt x="7540" y="0"/>
                  </a:lnTo>
                  <a:lnTo>
                    <a:pt x="12838" y="0"/>
                  </a:lnTo>
                  <a:lnTo>
                    <a:pt x="12838" y="492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algn="l" defTabSz="914400">
                <a:spcBef>
                  <a:spcPts val="600"/>
                </a:spcBef>
                <a:defRPr sz="1800" b="1">
                  <a:solidFill>
                    <a:srgbClr val="00148C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3" name="Shape 63"/>
            <p:cNvSpPr/>
            <p:nvPr/>
          </p:nvSpPr>
          <p:spPr>
            <a:xfrm>
              <a:off x="1221642" y="116246"/>
              <a:ext cx="54955" cy="62562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5984"/>
                  </a:moveTo>
                  <a:lnTo>
                    <a:pt x="21600" y="5984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5984"/>
                  </a:lnTo>
                  <a:close/>
                  <a:moveTo>
                    <a:pt x="0" y="0"/>
                  </a:moveTo>
                  <a:lnTo>
                    <a:pt x="21600" y="0"/>
                  </a:lnTo>
                  <a:lnTo>
                    <a:pt x="21600" y="3065"/>
                  </a:lnTo>
                  <a:lnTo>
                    <a:pt x="0" y="30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algn="l" defTabSz="914400">
                <a:spcBef>
                  <a:spcPts val="600"/>
                </a:spcBef>
                <a:defRPr sz="1800" b="1">
                  <a:solidFill>
                    <a:srgbClr val="00148C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4" name="Shape 64"/>
            <p:cNvSpPr/>
            <p:nvPr/>
          </p:nvSpPr>
          <p:spPr>
            <a:xfrm>
              <a:off x="1221642" y="289559"/>
              <a:ext cx="54955" cy="452307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algn="l" defTabSz="914400">
                <a:spcBef>
                  <a:spcPts val="600"/>
                </a:spcBef>
                <a:defRPr sz="1800" b="1">
                  <a:solidFill>
                    <a:srgbClr val="00148C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5" name="Shape 65"/>
            <p:cNvSpPr/>
            <p:nvPr/>
          </p:nvSpPr>
          <p:spPr>
            <a:xfrm>
              <a:off x="1221642" y="116246"/>
              <a:ext cx="54955" cy="88773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algn="l" defTabSz="914400">
                <a:spcBef>
                  <a:spcPts val="600"/>
                </a:spcBef>
                <a:defRPr sz="1800" b="1">
                  <a:solidFill>
                    <a:srgbClr val="00148C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6" name="Shape 66"/>
            <p:cNvSpPr/>
            <p:nvPr/>
          </p:nvSpPr>
          <p:spPr>
            <a:xfrm>
              <a:off x="1359024" y="276878"/>
              <a:ext cx="426943" cy="47766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780" y="10800"/>
                  </a:moveTo>
                  <a:cubicBezTo>
                    <a:pt x="2780" y="15196"/>
                    <a:pt x="5453" y="19497"/>
                    <a:pt x="10800" y="19497"/>
                  </a:cubicBezTo>
                  <a:cubicBezTo>
                    <a:pt x="16147" y="19497"/>
                    <a:pt x="18820" y="15101"/>
                    <a:pt x="18820" y="10800"/>
                  </a:cubicBezTo>
                  <a:cubicBezTo>
                    <a:pt x="18820" y="6404"/>
                    <a:pt x="16147" y="2103"/>
                    <a:pt x="10800" y="2103"/>
                  </a:cubicBezTo>
                  <a:cubicBezTo>
                    <a:pt x="5453" y="2103"/>
                    <a:pt x="2780" y="6404"/>
                    <a:pt x="2780" y="10800"/>
                  </a:cubicBezTo>
                  <a:moveTo>
                    <a:pt x="21600" y="10800"/>
                  </a:moveTo>
                  <a:cubicBezTo>
                    <a:pt x="21600" y="16630"/>
                    <a:pt x="17750" y="21600"/>
                    <a:pt x="10800" y="21600"/>
                  </a:cubicBezTo>
                  <a:cubicBezTo>
                    <a:pt x="3849" y="21600"/>
                    <a:pt x="0" y="16630"/>
                    <a:pt x="0" y="10800"/>
                  </a:cubicBezTo>
                  <a:cubicBezTo>
                    <a:pt x="0" y="4970"/>
                    <a:pt x="3849" y="0"/>
                    <a:pt x="10800" y="0"/>
                  </a:cubicBezTo>
                  <a:cubicBezTo>
                    <a:pt x="17750" y="0"/>
                    <a:pt x="21600" y="4970"/>
                    <a:pt x="21600" y="10800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algn="l" defTabSz="914400">
                <a:spcBef>
                  <a:spcPts val="600"/>
                </a:spcBef>
                <a:defRPr sz="1800" b="1">
                  <a:solidFill>
                    <a:srgbClr val="00148C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7" name="Shape 67"/>
            <p:cNvSpPr/>
            <p:nvPr/>
          </p:nvSpPr>
          <p:spPr>
            <a:xfrm>
              <a:off x="1866281" y="276878"/>
              <a:ext cx="365650" cy="46710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586"/>
                  </a:moveTo>
                  <a:lnTo>
                    <a:pt x="3246" y="586"/>
                  </a:lnTo>
                  <a:lnTo>
                    <a:pt x="3246" y="4203"/>
                  </a:lnTo>
                  <a:lnTo>
                    <a:pt x="3371" y="4203"/>
                  </a:lnTo>
                  <a:cubicBezTo>
                    <a:pt x="4620" y="1662"/>
                    <a:pt x="8116" y="0"/>
                    <a:pt x="11861" y="0"/>
                  </a:cubicBezTo>
                  <a:cubicBezTo>
                    <a:pt x="19353" y="0"/>
                    <a:pt x="21600" y="3128"/>
                    <a:pt x="21600" y="8112"/>
                  </a:cubicBezTo>
                  <a:lnTo>
                    <a:pt x="21600" y="21600"/>
                  </a:lnTo>
                  <a:lnTo>
                    <a:pt x="18354" y="21600"/>
                  </a:lnTo>
                  <a:lnTo>
                    <a:pt x="18354" y="8503"/>
                  </a:lnTo>
                  <a:cubicBezTo>
                    <a:pt x="18354" y="4887"/>
                    <a:pt x="16856" y="2150"/>
                    <a:pt x="11612" y="2150"/>
                  </a:cubicBezTo>
                  <a:cubicBezTo>
                    <a:pt x="6492" y="2150"/>
                    <a:pt x="3371" y="5278"/>
                    <a:pt x="3246" y="9285"/>
                  </a:cubicBezTo>
                  <a:lnTo>
                    <a:pt x="3246" y="21502"/>
                  </a:lnTo>
                  <a:lnTo>
                    <a:pt x="0" y="21502"/>
                  </a:lnTo>
                  <a:lnTo>
                    <a:pt x="0" y="586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algn="l" defTabSz="914400">
                <a:spcBef>
                  <a:spcPts val="600"/>
                </a:spcBef>
                <a:defRPr sz="1800" b="1">
                  <a:solidFill>
                    <a:srgbClr val="00148C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8" name="Shape 68"/>
            <p:cNvSpPr/>
            <p:nvPr/>
          </p:nvSpPr>
          <p:spPr>
            <a:xfrm>
              <a:off x="1866281" y="276878"/>
              <a:ext cx="365650" cy="46710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586"/>
                  </a:moveTo>
                  <a:lnTo>
                    <a:pt x="3246" y="586"/>
                  </a:lnTo>
                  <a:lnTo>
                    <a:pt x="3246" y="4203"/>
                  </a:lnTo>
                  <a:lnTo>
                    <a:pt x="3371" y="4203"/>
                  </a:lnTo>
                  <a:cubicBezTo>
                    <a:pt x="4620" y="1662"/>
                    <a:pt x="8116" y="0"/>
                    <a:pt x="11861" y="0"/>
                  </a:cubicBezTo>
                  <a:cubicBezTo>
                    <a:pt x="19353" y="0"/>
                    <a:pt x="21600" y="3128"/>
                    <a:pt x="21600" y="8112"/>
                  </a:cubicBezTo>
                  <a:lnTo>
                    <a:pt x="21600" y="21600"/>
                  </a:lnTo>
                  <a:lnTo>
                    <a:pt x="18354" y="21600"/>
                  </a:lnTo>
                  <a:lnTo>
                    <a:pt x="18354" y="8503"/>
                  </a:lnTo>
                  <a:cubicBezTo>
                    <a:pt x="18354" y="4887"/>
                    <a:pt x="16856" y="2150"/>
                    <a:pt x="11612" y="2150"/>
                  </a:cubicBezTo>
                  <a:cubicBezTo>
                    <a:pt x="6492" y="2150"/>
                    <a:pt x="3371" y="5278"/>
                    <a:pt x="3246" y="9383"/>
                  </a:cubicBezTo>
                  <a:lnTo>
                    <a:pt x="3246" y="21600"/>
                  </a:lnTo>
                  <a:lnTo>
                    <a:pt x="0" y="21600"/>
                  </a:lnTo>
                  <a:lnTo>
                    <a:pt x="0" y="586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algn="l" defTabSz="914400">
                <a:spcBef>
                  <a:spcPts val="600"/>
                </a:spcBef>
                <a:defRPr sz="1800" b="1">
                  <a:solidFill>
                    <a:srgbClr val="00148C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9" name="Shape 69"/>
            <p:cNvSpPr/>
            <p:nvPr/>
          </p:nvSpPr>
          <p:spPr>
            <a:xfrm>
              <a:off x="2310130" y="276878"/>
              <a:ext cx="418490" cy="4818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255" y="9758"/>
                  </a:moveTo>
                  <a:cubicBezTo>
                    <a:pt x="15818" y="10326"/>
                    <a:pt x="14509" y="10516"/>
                    <a:pt x="13745" y="10705"/>
                  </a:cubicBezTo>
                  <a:cubicBezTo>
                    <a:pt x="8945" y="11463"/>
                    <a:pt x="2945" y="11368"/>
                    <a:pt x="2945" y="15347"/>
                  </a:cubicBezTo>
                  <a:cubicBezTo>
                    <a:pt x="2945" y="17811"/>
                    <a:pt x="5455" y="19326"/>
                    <a:pt x="8182" y="19326"/>
                  </a:cubicBezTo>
                  <a:cubicBezTo>
                    <a:pt x="12545" y="19326"/>
                    <a:pt x="16364" y="16958"/>
                    <a:pt x="16255" y="12979"/>
                  </a:cubicBezTo>
                  <a:lnTo>
                    <a:pt x="16255" y="9758"/>
                  </a:lnTo>
                  <a:close/>
                  <a:moveTo>
                    <a:pt x="1091" y="6821"/>
                  </a:moveTo>
                  <a:cubicBezTo>
                    <a:pt x="1418" y="2084"/>
                    <a:pt x="5236" y="0"/>
                    <a:pt x="10473" y="0"/>
                  </a:cubicBezTo>
                  <a:cubicBezTo>
                    <a:pt x="14618" y="0"/>
                    <a:pt x="19091" y="1137"/>
                    <a:pt x="19091" y="6537"/>
                  </a:cubicBezTo>
                  <a:lnTo>
                    <a:pt x="19091" y="17337"/>
                  </a:lnTo>
                  <a:cubicBezTo>
                    <a:pt x="19091" y="18284"/>
                    <a:pt x="19636" y="18853"/>
                    <a:pt x="20727" y="18853"/>
                  </a:cubicBezTo>
                  <a:cubicBezTo>
                    <a:pt x="21055" y="18853"/>
                    <a:pt x="21382" y="18758"/>
                    <a:pt x="21600" y="18663"/>
                  </a:cubicBezTo>
                  <a:lnTo>
                    <a:pt x="21600" y="20747"/>
                  </a:lnTo>
                  <a:cubicBezTo>
                    <a:pt x="20945" y="20842"/>
                    <a:pt x="20509" y="20937"/>
                    <a:pt x="19745" y="20937"/>
                  </a:cubicBezTo>
                  <a:cubicBezTo>
                    <a:pt x="16909" y="20937"/>
                    <a:pt x="16364" y="19516"/>
                    <a:pt x="16364" y="17432"/>
                  </a:cubicBezTo>
                  <a:lnTo>
                    <a:pt x="16255" y="17432"/>
                  </a:lnTo>
                  <a:cubicBezTo>
                    <a:pt x="14291" y="20084"/>
                    <a:pt x="12218" y="21600"/>
                    <a:pt x="7745" y="21600"/>
                  </a:cubicBezTo>
                  <a:cubicBezTo>
                    <a:pt x="3491" y="21600"/>
                    <a:pt x="0" y="19705"/>
                    <a:pt x="0" y="15632"/>
                  </a:cubicBezTo>
                  <a:cubicBezTo>
                    <a:pt x="0" y="9947"/>
                    <a:pt x="6327" y="9758"/>
                    <a:pt x="12436" y="9095"/>
                  </a:cubicBezTo>
                  <a:cubicBezTo>
                    <a:pt x="14727" y="8905"/>
                    <a:pt x="16036" y="8621"/>
                    <a:pt x="16036" y="6347"/>
                  </a:cubicBezTo>
                  <a:cubicBezTo>
                    <a:pt x="16036" y="3032"/>
                    <a:pt x="13309" y="2179"/>
                    <a:pt x="9927" y="2179"/>
                  </a:cubicBezTo>
                  <a:cubicBezTo>
                    <a:pt x="6436" y="2179"/>
                    <a:pt x="3818" y="3600"/>
                    <a:pt x="3709" y="6916"/>
                  </a:cubicBezTo>
                  <a:lnTo>
                    <a:pt x="1091" y="6916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algn="l" defTabSz="914400">
                <a:spcBef>
                  <a:spcPts val="600"/>
                </a:spcBef>
                <a:defRPr sz="1800" b="1">
                  <a:solidFill>
                    <a:srgbClr val="00148C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70" name="Shape 70"/>
            <p:cNvSpPr/>
            <p:nvPr/>
          </p:nvSpPr>
          <p:spPr>
            <a:xfrm>
              <a:off x="2819501" y="116246"/>
              <a:ext cx="54956" cy="62773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algn="l" defTabSz="914400">
                <a:spcBef>
                  <a:spcPts val="600"/>
                </a:spcBef>
                <a:defRPr sz="1800" b="1">
                  <a:solidFill>
                    <a:srgbClr val="00148C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71" name="Shape 71"/>
            <p:cNvSpPr/>
            <p:nvPr/>
          </p:nvSpPr>
          <p:spPr>
            <a:xfrm>
              <a:off x="2819501" y="116246"/>
              <a:ext cx="54956" cy="62773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algn="l" defTabSz="914400">
                <a:spcBef>
                  <a:spcPts val="600"/>
                </a:spcBef>
                <a:defRPr sz="1800" b="1">
                  <a:solidFill>
                    <a:srgbClr val="00148C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72" name="Shape 72"/>
            <p:cNvSpPr/>
            <p:nvPr/>
          </p:nvSpPr>
          <p:spPr>
            <a:xfrm>
              <a:off x="2961110" y="262083"/>
              <a:ext cx="448079" cy="6721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2226"/>
                  </a:moveTo>
                  <a:cubicBezTo>
                    <a:pt x="14774" y="12226"/>
                    <a:pt x="15792" y="9917"/>
                    <a:pt x="15792" y="7879"/>
                  </a:cubicBezTo>
                  <a:cubicBezTo>
                    <a:pt x="15792" y="5434"/>
                    <a:pt x="14060" y="3464"/>
                    <a:pt x="10698" y="3464"/>
                  </a:cubicBezTo>
                  <a:cubicBezTo>
                    <a:pt x="8558" y="3464"/>
                    <a:pt x="6113" y="4551"/>
                    <a:pt x="6113" y="8015"/>
                  </a:cubicBezTo>
                  <a:cubicBezTo>
                    <a:pt x="6113" y="9917"/>
                    <a:pt x="7234" y="12226"/>
                    <a:pt x="10800" y="12226"/>
                  </a:cubicBezTo>
                  <a:moveTo>
                    <a:pt x="21600" y="408"/>
                  </a:moveTo>
                  <a:lnTo>
                    <a:pt x="21600" y="14672"/>
                  </a:lnTo>
                  <a:cubicBezTo>
                    <a:pt x="21600" y="17253"/>
                    <a:pt x="21294" y="21600"/>
                    <a:pt x="10291" y="21600"/>
                  </a:cubicBezTo>
                  <a:cubicBezTo>
                    <a:pt x="5706" y="21600"/>
                    <a:pt x="815" y="20242"/>
                    <a:pt x="509" y="17117"/>
                  </a:cubicBezTo>
                  <a:lnTo>
                    <a:pt x="6928" y="17117"/>
                  </a:lnTo>
                  <a:cubicBezTo>
                    <a:pt x="7234" y="17864"/>
                    <a:pt x="7641" y="18611"/>
                    <a:pt x="11106" y="18611"/>
                  </a:cubicBezTo>
                  <a:cubicBezTo>
                    <a:pt x="14264" y="18611"/>
                    <a:pt x="15792" y="17592"/>
                    <a:pt x="15792" y="15147"/>
                  </a:cubicBezTo>
                  <a:lnTo>
                    <a:pt x="15792" y="13313"/>
                  </a:lnTo>
                  <a:lnTo>
                    <a:pt x="15691" y="13245"/>
                  </a:lnTo>
                  <a:cubicBezTo>
                    <a:pt x="14774" y="14400"/>
                    <a:pt x="13245" y="15487"/>
                    <a:pt x="9679" y="15487"/>
                  </a:cubicBezTo>
                  <a:cubicBezTo>
                    <a:pt x="4279" y="15487"/>
                    <a:pt x="0" y="12974"/>
                    <a:pt x="0" y="7743"/>
                  </a:cubicBezTo>
                  <a:cubicBezTo>
                    <a:pt x="0" y="2581"/>
                    <a:pt x="4381" y="0"/>
                    <a:pt x="9272" y="0"/>
                  </a:cubicBezTo>
                  <a:cubicBezTo>
                    <a:pt x="13449" y="0"/>
                    <a:pt x="15079" y="1630"/>
                    <a:pt x="15792" y="2649"/>
                  </a:cubicBezTo>
                  <a:lnTo>
                    <a:pt x="15894" y="2649"/>
                  </a:lnTo>
                  <a:lnTo>
                    <a:pt x="15894" y="408"/>
                  </a:lnTo>
                  <a:lnTo>
                    <a:pt x="21600" y="408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algn="l" defTabSz="914400">
                <a:spcBef>
                  <a:spcPts val="600"/>
                </a:spcBef>
                <a:defRPr sz="1800" b="1">
                  <a:solidFill>
                    <a:srgbClr val="00148C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73" name="Shape 73"/>
            <p:cNvSpPr/>
            <p:nvPr/>
          </p:nvSpPr>
          <p:spPr>
            <a:xfrm>
              <a:off x="3512751" y="262083"/>
              <a:ext cx="270539" cy="47978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9" y="571"/>
                  </a:moveTo>
                  <a:lnTo>
                    <a:pt x="9450" y="571"/>
                  </a:lnTo>
                  <a:lnTo>
                    <a:pt x="9450" y="4187"/>
                  </a:lnTo>
                  <a:lnTo>
                    <a:pt x="9619" y="4187"/>
                  </a:lnTo>
                  <a:cubicBezTo>
                    <a:pt x="11644" y="2093"/>
                    <a:pt x="13837" y="0"/>
                    <a:pt x="19744" y="0"/>
                  </a:cubicBezTo>
                  <a:cubicBezTo>
                    <a:pt x="20419" y="0"/>
                    <a:pt x="20925" y="0"/>
                    <a:pt x="21600" y="95"/>
                  </a:cubicBezTo>
                  <a:lnTo>
                    <a:pt x="21600" y="5709"/>
                  </a:lnTo>
                  <a:cubicBezTo>
                    <a:pt x="20756" y="5614"/>
                    <a:pt x="19744" y="5614"/>
                    <a:pt x="18731" y="5614"/>
                  </a:cubicBezTo>
                  <a:cubicBezTo>
                    <a:pt x="11138" y="5614"/>
                    <a:pt x="9787" y="8278"/>
                    <a:pt x="9787" y="10657"/>
                  </a:cubicBezTo>
                  <a:lnTo>
                    <a:pt x="9787" y="21600"/>
                  </a:lnTo>
                  <a:lnTo>
                    <a:pt x="0" y="21600"/>
                  </a:lnTo>
                  <a:lnTo>
                    <a:pt x="0" y="571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algn="l" defTabSz="914400">
                <a:spcBef>
                  <a:spcPts val="600"/>
                </a:spcBef>
                <a:defRPr sz="1800" b="1">
                  <a:solidFill>
                    <a:srgbClr val="00148C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74" name="Shape 74"/>
            <p:cNvSpPr/>
            <p:nvPr/>
          </p:nvSpPr>
          <p:spPr>
            <a:xfrm>
              <a:off x="4066506" y="112019"/>
              <a:ext cx="454420" cy="6425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951" y="18189"/>
                  </a:moveTo>
                  <a:cubicBezTo>
                    <a:pt x="14668" y="18189"/>
                    <a:pt x="16074" y="15987"/>
                    <a:pt x="16074" y="13642"/>
                  </a:cubicBezTo>
                  <a:cubicBezTo>
                    <a:pt x="16074" y="11155"/>
                    <a:pt x="15070" y="8597"/>
                    <a:pt x="11051" y="8597"/>
                  </a:cubicBezTo>
                  <a:cubicBezTo>
                    <a:pt x="7334" y="8597"/>
                    <a:pt x="6128" y="10942"/>
                    <a:pt x="6128" y="13429"/>
                  </a:cubicBezTo>
                  <a:cubicBezTo>
                    <a:pt x="6128" y="15347"/>
                    <a:pt x="7133" y="18189"/>
                    <a:pt x="10951" y="18189"/>
                  </a:cubicBezTo>
                  <a:moveTo>
                    <a:pt x="21600" y="21174"/>
                  </a:moveTo>
                  <a:lnTo>
                    <a:pt x="15873" y="21174"/>
                  </a:lnTo>
                  <a:lnTo>
                    <a:pt x="15873" y="19184"/>
                  </a:lnTo>
                  <a:lnTo>
                    <a:pt x="15773" y="19184"/>
                  </a:lnTo>
                  <a:cubicBezTo>
                    <a:pt x="14367" y="20961"/>
                    <a:pt x="11754" y="21600"/>
                    <a:pt x="9343" y="21600"/>
                  </a:cubicBezTo>
                  <a:cubicBezTo>
                    <a:pt x="2813" y="21600"/>
                    <a:pt x="0" y="17479"/>
                    <a:pt x="0" y="13145"/>
                  </a:cubicBezTo>
                  <a:cubicBezTo>
                    <a:pt x="0" y="7745"/>
                    <a:pt x="4320" y="5045"/>
                    <a:pt x="9142" y="5045"/>
                  </a:cubicBezTo>
                  <a:cubicBezTo>
                    <a:pt x="12860" y="5045"/>
                    <a:pt x="14668" y="6466"/>
                    <a:pt x="15572" y="7461"/>
                  </a:cubicBezTo>
                  <a:lnTo>
                    <a:pt x="15673" y="7461"/>
                  </a:lnTo>
                  <a:lnTo>
                    <a:pt x="15673" y="0"/>
                  </a:lnTo>
                  <a:lnTo>
                    <a:pt x="21500" y="0"/>
                  </a:lnTo>
                  <a:lnTo>
                    <a:pt x="21500" y="21174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algn="l" defTabSz="914400">
                <a:spcBef>
                  <a:spcPts val="600"/>
                </a:spcBef>
                <a:defRPr sz="1800" b="1">
                  <a:solidFill>
                    <a:srgbClr val="00148C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</p:spTree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3">
            <a:extLst>
              <a:ext uri="{FF2B5EF4-FFF2-40B4-BE49-F238E27FC236}">
                <a16:creationId xmlns:a16="http://schemas.microsoft.com/office/drawing/2014/main" id="{2BE225EC-048A-432A-9AD4-AC86F31F9B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88523" y="2463416"/>
            <a:ext cx="6715179" cy="6622735"/>
          </a:xfrm>
          <a:prstGeom prst="rect">
            <a:avLst/>
          </a:prstGeom>
          <a:solidFill>
            <a:srgbClr val="E2188F"/>
          </a:solidFill>
          <a:ln>
            <a:noFill/>
          </a:ln>
        </p:spPr>
        <p:txBody>
          <a:bodyPr/>
          <a:lstStyle>
            <a:lvl1pPr eaLnBrk="0" hangingPunct="0"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2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2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20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Tx/>
              <a:buNone/>
            </a:pPr>
            <a:endParaRPr lang="en-US" altLang="en-US" sz="2800">
              <a:solidFill>
                <a:srgbClr val="0079C1"/>
              </a:solidFill>
            </a:endParaRPr>
          </a:p>
        </p:txBody>
      </p:sp>
      <p:sp>
        <p:nvSpPr>
          <p:cNvPr id="27" name="Rectangle 3">
            <a:extLst>
              <a:ext uri="{FF2B5EF4-FFF2-40B4-BE49-F238E27FC236}">
                <a16:creationId xmlns:a16="http://schemas.microsoft.com/office/drawing/2014/main" id="{3C9174EF-63D2-4F25-A37C-E5DE34FD67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706321" y="2462030"/>
            <a:ext cx="6379660" cy="6622735"/>
          </a:xfrm>
          <a:prstGeom prst="rect">
            <a:avLst/>
          </a:prstGeom>
          <a:solidFill>
            <a:srgbClr val="799B3E"/>
          </a:solidFill>
          <a:ln>
            <a:noFill/>
          </a:ln>
        </p:spPr>
        <p:txBody>
          <a:bodyPr/>
          <a:lstStyle>
            <a:lvl1pPr eaLnBrk="0" hangingPunct="0"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2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2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20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Tx/>
              <a:buNone/>
            </a:pPr>
            <a:endParaRPr lang="en-US" altLang="en-US" sz="2800">
              <a:solidFill>
                <a:srgbClr val="0079C1"/>
              </a:solidFill>
            </a:endParaRPr>
          </a:p>
        </p:txBody>
      </p:sp>
      <p:sp>
        <p:nvSpPr>
          <p:cNvPr id="87" name="Shape 87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/>
          <a:lstStyle>
            <a:lvl1pPr>
              <a:defRPr sz="2400">
                <a:solidFill>
                  <a:srgbClr val="53585F"/>
                </a:solidFill>
              </a:defRPr>
            </a:lvl1pPr>
          </a:lstStyle>
          <a:p>
            <a:fld id="{86CB4B4D-7CA3-9044-876B-883B54F8677D}" type="slidenum">
              <a:t>2</a:t>
            </a:fld>
            <a:endParaRPr/>
          </a:p>
        </p:txBody>
      </p:sp>
      <p:sp>
        <p:nvSpPr>
          <p:cNvPr id="88" name="Shape 88"/>
          <p:cNvSpPr/>
          <p:nvPr/>
        </p:nvSpPr>
        <p:spPr>
          <a:xfrm>
            <a:off x="444133" y="127692"/>
            <a:ext cx="23227792" cy="13781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normAutofit/>
          </a:bodyPr>
          <a:lstStyle>
            <a:lvl1pPr marR="5080" indent="12700" defTabSz="914400">
              <a:lnSpc>
                <a:spcPts val="9800"/>
              </a:lnSpc>
              <a:spcBef>
                <a:spcPts val="2400"/>
              </a:spcBef>
              <a:defRPr sz="6000" b="1" cap="all" spc="100" baseline="-34999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8000" dirty="0"/>
              <a:t>About National Grid US</a:t>
            </a:r>
            <a:endParaRPr sz="80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A248938-8389-40CA-9DC9-4ED353E71CC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396" t="41533"/>
          <a:stretch/>
        </p:blipFill>
        <p:spPr>
          <a:xfrm>
            <a:off x="16693668" y="4246845"/>
            <a:ext cx="4502347" cy="4819941"/>
          </a:xfrm>
          <a:prstGeom prst="rect">
            <a:avLst/>
          </a:prstGeom>
        </p:spPr>
      </p:pic>
      <p:sp>
        <p:nvSpPr>
          <p:cNvPr id="9" name="Rectangle 3">
            <a:extLst>
              <a:ext uri="{FF2B5EF4-FFF2-40B4-BE49-F238E27FC236}">
                <a16:creationId xmlns:a16="http://schemas.microsoft.com/office/drawing/2014/main" id="{34B4F22B-EDA1-48B0-999A-A2D0758AA4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85726" y="2462030"/>
            <a:ext cx="6715180" cy="6644506"/>
          </a:xfrm>
          <a:prstGeom prst="rect">
            <a:avLst/>
          </a:prstGeom>
          <a:solidFill>
            <a:srgbClr val="0079C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2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2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20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Tx/>
              <a:buNone/>
            </a:pPr>
            <a:endParaRPr lang="en-US" altLang="en-US" sz="2800">
              <a:solidFill>
                <a:srgbClr val="0079C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64990BE-7929-4460-9653-E9ECF779DC6A}"/>
              </a:ext>
            </a:extLst>
          </p:cNvPr>
          <p:cNvSpPr txBox="1"/>
          <p:nvPr/>
        </p:nvSpPr>
        <p:spPr>
          <a:xfrm>
            <a:off x="3013744" y="3634966"/>
            <a:ext cx="5253338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4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ional Grid US:</a:t>
            </a:r>
          </a:p>
          <a:p>
            <a:pPr algn="l"/>
            <a:endParaRPr lang="en-US" sz="2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en-US" sz="2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ional Grid is a US energy company, delivering electric, gas, and clean energy to communities in NY, MA, and RI.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C1589A3-C4A8-412E-AC2B-D3AD7880E637}"/>
              </a:ext>
            </a:extLst>
          </p:cNvPr>
          <p:cNvSpPr txBox="1"/>
          <p:nvPr/>
        </p:nvSpPr>
        <p:spPr>
          <a:xfrm>
            <a:off x="3013744" y="10084513"/>
            <a:ext cx="8301746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ional Grid Ventures (NGV): </a:t>
            </a:r>
          </a:p>
          <a:p>
            <a:pPr algn="l"/>
            <a:endParaRPr lang="en-US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distinct commercial unit that owns and operates energy businesses in competitive markets in the UK and US. </a:t>
            </a:r>
            <a:endParaRPr lang="en-US" sz="105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661DDE1-C51D-4489-A6FA-569EECA26C6F}"/>
              </a:ext>
            </a:extLst>
          </p:cNvPr>
          <p:cNvSpPr txBox="1"/>
          <p:nvPr/>
        </p:nvSpPr>
        <p:spPr>
          <a:xfrm>
            <a:off x="12775576" y="9915793"/>
            <a:ext cx="8833671" cy="21005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ional Grid UK: </a:t>
            </a:r>
          </a:p>
          <a:p>
            <a:pPr algn="l"/>
            <a:endParaRPr lang="en-US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wns and operates the electricity transmission network in England and Wales. Operates Scottish Networks. Owns and operates gas National Transmission System in Great Britain.</a:t>
            </a:r>
          </a:p>
          <a:p>
            <a:pPr algn="l">
              <a:defRPr/>
            </a:pPr>
            <a:endParaRPr lang="en-US" sz="105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CD56F48F-152E-42BE-96E4-BB5D56420E8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247" t="8215" b="73342"/>
          <a:stretch/>
        </p:blipFill>
        <p:spPr>
          <a:xfrm>
            <a:off x="9490055" y="5287622"/>
            <a:ext cx="5912114" cy="1972726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F65DFDB6-A1FD-4CED-BE51-777F98B758DF}"/>
              </a:ext>
            </a:extLst>
          </p:cNvPr>
          <p:cNvSpPr txBox="1"/>
          <p:nvPr/>
        </p:nvSpPr>
        <p:spPr>
          <a:xfrm>
            <a:off x="9922347" y="3504577"/>
            <a:ext cx="5253338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ng 20 Million</a:t>
            </a:r>
            <a:endParaRPr lang="en-US" sz="2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C3A7D0C-C82A-4D65-A1B9-F9A93335DDF6}"/>
              </a:ext>
            </a:extLst>
          </p:cNvPr>
          <p:cNvSpPr txBox="1"/>
          <p:nvPr/>
        </p:nvSpPr>
        <p:spPr>
          <a:xfrm>
            <a:off x="15722583" y="2904412"/>
            <a:ext cx="634713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idential &amp; Commercial Customers by Region:</a:t>
            </a:r>
            <a:endParaRPr lang="en-US" sz="1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451C82B4-494F-4F82-8EB8-49DDC3BB66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75087" y="8036836"/>
            <a:ext cx="2351314" cy="628193"/>
          </a:xfrm>
          <a:prstGeom prst="rect">
            <a:avLst/>
          </a:prstGeom>
          <a:solidFill>
            <a:srgbClr val="799B3E"/>
          </a:solidFill>
          <a:ln>
            <a:noFill/>
          </a:ln>
        </p:spPr>
        <p:txBody>
          <a:bodyPr/>
          <a:lstStyle>
            <a:lvl1pPr eaLnBrk="0" hangingPunct="0"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2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2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20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Tx/>
              <a:buNone/>
            </a:pPr>
            <a:endParaRPr lang="en-US" altLang="en-US" sz="2800">
              <a:solidFill>
                <a:srgbClr val="0079C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669537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Shape 87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/>
          <a:lstStyle>
            <a:lvl1pPr>
              <a:defRPr sz="2400">
                <a:solidFill>
                  <a:srgbClr val="53585F"/>
                </a:solidFill>
              </a:defRPr>
            </a:lvl1pPr>
          </a:lstStyle>
          <a:p>
            <a:fld id="{86CB4B4D-7CA3-9044-876B-883B54F8677D}" type="slidenum">
              <a:t>3</a:t>
            </a:fld>
            <a:endParaRPr/>
          </a:p>
        </p:txBody>
      </p:sp>
      <p:sp>
        <p:nvSpPr>
          <p:cNvPr id="88" name="Shape 88"/>
          <p:cNvSpPr/>
          <p:nvPr/>
        </p:nvSpPr>
        <p:spPr>
          <a:xfrm>
            <a:off x="444133" y="127692"/>
            <a:ext cx="23227792" cy="13781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normAutofit/>
          </a:bodyPr>
          <a:lstStyle>
            <a:lvl1pPr marR="5080" indent="12700" defTabSz="914400">
              <a:lnSpc>
                <a:spcPts val="9800"/>
              </a:lnSpc>
              <a:spcBef>
                <a:spcPts val="2400"/>
              </a:spcBef>
              <a:defRPr sz="6000" b="1" cap="all" spc="100" baseline="-34999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8000" dirty="0"/>
              <a:t>The National Grid Northeast 80x50 Pathway</a:t>
            </a:r>
          </a:p>
        </p:txBody>
      </p:sp>
      <p:sp>
        <p:nvSpPr>
          <p:cNvPr id="91" name="Shape 91"/>
          <p:cNvSpPr/>
          <p:nvPr/>
        </p:nvSpPr>
        <p:spPr>
          <a:xfrm>
            <a:off x="3005570" y="11058275"/>
            <a:ext cx="18372858" cy="142227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normAutofit/>
          </a:bodyPr>
          <a:lstStyle/>
          <a:p>
            <a:pPr defTabSz="457200">
              <a:spcBef>
                <a:spcPts val="600"/>
              </a:spcBef>
              <a:spcAft>
                <a:spcPts val="600"/>
              </a:spcAft>
              <a:defRPr sz="3300">
                <a:solidFill>
                  <a:srgbClr val="53585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4300" dirty="0">
                <a:solidFill>
                  <a:srgbClr val="0070C0"/>
                </a:solidFill>
              </a:rPr>
              <a:t>Our 80x50 Pathway is ambitious and comprehensive, with implications for customers, communities, utilities, automakers, and policymakers.</a:t>
            </a:r>
          </a:p>
        </p:txBody>
      </p:sp>
      <p:graphicFrame>
        <p:nvGraphicFramePr>
          <p:cNvPr id="25" name="Table 24">
            <a:extLst>
              <a:ext uri="{FF2B5EF4-FFF2-40B4-BE49-F238E27FC236}">
                <a16:creationId xmlns:a16="http://schemas.microsoft.com/office/drawing/2014/main" id="{A105157B-806C-4E3F-A889-40AB42FF66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1530812"/>
              </p:ext>
            </p:extLst>
          </p:nvPr>
        </p:nvGraphicFramePr>
        <p:xfrm>
          <a:off x="1152842" y="3703320"/>
          <a:ext cx="22080361" cy="6548259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39115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9658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20300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548259">
                <a:tc>
                  <a:txBody>
                    <a:bodyPr/>
                    <a:lstStyle/>
                    <a:p>
                      <a:pPr marL="457200" algn="l"/>
                      <a:r>
                        <a:rPr lang="en-NZ" sz="4400" kern="0" spc="40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nsport</a:t>
                      </a:r>
                      <a:endParaRPr lang="en-US" sz="4400" spc="40" baseline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457200" algn="l" eaLnBrk="1" hangingPunct="1">
                        <a:spcAft>
                          <a:spcPct val="0"/>
                        </a:spcAft>
                        <a:buClrTx/>
                        <a:buFont typeface="Wingdings" pitchFamily="2" charset="2"/>
                        <a:buNone/>
                        <a:defRPr/>
                      </a:pPr>
                      <a:r>
                        <a:rPr lang="en-US" altLang="en-US" sz="4000" b="0" spc="4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ach more than 10 million light-duty electric vehicles on Northeast roads (50% of all light-duty vehicles) vs. </a:t>
                      </a:r>
                    </a:p>
                    <a:p>
                      <a:pPr marL="457200" algn="l" eaLnBrk="1" hangingPunct="1">
                        <a:spcAft>
                          <a:spcPct val="0"/>
                        </a:spcAft>
                        <a:buClrTx/>
                        <a:buFont typeface="Wingdings" pitchFamily="2" charset="2"/>
                        <a:buNone/>
                        <a:defRPr/>
                      </a:pPr>
                      <a:r>
                        <a:rPr lang="en-US" altLang="en-US" sz="4000" b="0" spc="4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 75,000 today</a:t>
                      </a:r>
                      <a:endParaRPr lang="en-US" altLang="en-US" sz="4000" b="0" spc="40" baseline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028700" indent="-571500" algn="l" eaLnBrk="1" hangingPunct="1">
                        <a:spcAft>
                          <a:spcPct val="0"/>
                        </a:spcAft>
                        <a:buClrTx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altLang="en-US" sz="4000" b="0" spc="4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re than 20 million light-duty vehicles (100% of the fleet)</a:t>
                      </a:r>
                    </a:p>
                    <a:p>
                      <a:pPr marL="1028700" indent="-571500" algn="l" eaLnBrk="1" hangingPunct="1">
                        <a:spcAft>
                          <a:spcPct val="0"/>
                        </a:spcAft>
                        <a:buClrTx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altLang="en-US" sz="4000" b="0" spc="4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w-carbon heavy duty, rail, and off-road transportation</a:t>
                      </a:r>
                    </a:p>
                    <a:p>
                      <a:pPr marL="1028700" indent="-571500" algn="l" eaLnBrk="1" hangingPunct="1">
                        <a:spcAft>
                          <a:spcPct val="0"/>
                        </a:spcAft>
                        <a:buClrTx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altLang="en-US" sz="4000" b="0" spc="4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ductions in vehicle miles traveled</a:t>
                      </a:r>
                      <a:endParaRPr lang="en-US" altLang="en-US" sz="4000" b="0" spc="40" baseline="0" dirty="0">
                        <a:solidFill>
                          <a:schemeClr val="bg1">
                            <a:lumMod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6" name="Rectangle 25">
            <a:extLst>
              <a:ext uri="{FF2B5EF4-FFF2-40B4-BE49-F238E27FC236}">
                <a16:creationId xmlns:a16="http://schemas.microsoft.com/office/drawing/2014/main" id="{3DF7F3F6-EAD1-4160-81C2-BF15A57FFEC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890730" y="2896624"/>
            <a:ext cx="6167299" cy="1378132"/>
          </a:xfrm>
          <a:prstGeom prst="rect">
            <a:avLst/>
          </a:prstGeom>
          <a:solidFill>
            <a:srgbClr val="DCBD23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NZ" sz="4800" b="1" kern="0" dirty="0">
                <a:solidFill>
                  <a:srgbClr val="FFFFFF"/>
                </a:solidFill>
                <a:latin typeface="Arial"/>
                <a:ea typeface="ＭＳ Ｐゴシック"/>
                <a:cs typeface="Arial"/>
              </a:rPr>
              <a:t>40% x 2030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678CE76-1C54-46EB-8509-60D9AC6FD52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310445" y="2896624"/>
            <a:ext cx="5720756" cy="1378132"/>
          </a:xfrm>
          <a:prstGeom prst="rect">
            <a:avLst/>
          </a:prstGeom>
          <a:solidFill>
            <a:srgbClr val="DCBD23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NZ" sz="4800" b="1" dirty="0">
                <a:solidFill>
                  <a:srgbClr val="FFFFFF"/>
                </a:solidFill>
                <a:latin typeface="Arial"/>
                <a:ea typeface="ＭＳ Ｐゴシック"/>
                <a:cs typeface="Arial"/>
              </a:rPr>
              <a:t>8</a:t>
            </a:r>
            <a:r>
              <a:rPr lang="en-NZ" sz="4800" b="1" kern="0" dirty="0">
                <a:solidFill>
                  <a:srgbClr val="FFFFFF"/>
                </a:solidFill>
                <a:latin typeface="Arial"/>
                <a:ea typeface="ＭＳ Ｐゴシック"/>
                <a:cs typeface="Arial"/>
              </a:rPr>
              <a:t>0% x 2050</a:t>
            </a:r>
          </a:p>
        </p:txBody>
      </p:sp>
    </p:spTree>
    <p:extLst>
      <p:ext uri="{BB962C8B-B14F-4D97-AF65-F5344CB8AC3E}">
        <p14:creationId xmlns:p14="http://schemas.microsoft.com/office/powerpoint/2010/main" val="920937738"/>
      </p:ext>
    </p:extLst>
  </p:cSld>
  <p:clrMapOvr>
    <a:masterClrMapping/>
  </p:clrMapOvr>
  <p:transition spd="slow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Shape 87"/>
          <p:cNvSpPr>
            <a:spLocks noGrp="1"/>
          </p:cNvSpPr>
          <p:nvPr>
            <p:ph type="sldNum" sz="quarter" idx="2"/>
          </p:nvPr>
        </p:nvSpPr>
        <p:spPr>
          <a:xfrm>
            <a:off x="23056356" y="12865310"/>
            <a:ext cx="171522" cy="369332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/>
          <a:lstStyle>
            <a:lvl1pPr>
              <a:defRPr sz="2400">
                <a:solidFill>
                  <a:srgbClr val="53585F"/>
                </a:solidFill>
              </a:defRPr>
            </a:lvl1pPr>
          </a:lstStyle>
          <a:p>
            <a:fld id="{86CB4B4D-7CA3-9044-876B-883B54F8677D}" type="slidenum">
              <a:rPr>
                <a:solidFill>
                  <a:schemeClr val="tx1">
                    <a:lumMod val="75000"/>
                    <a:lumOff val="25000"/>
                  </a:schemeClr>
                </a:solidFill>
              </a:rPr>
              <a:t>4</a:t>
            </a:fld>
            <a:endParaRPr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29465BED-6AAA-42EF-BEAF-457932A2CF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2273" y="4646141"/>
            <a:ext cx="6156695" cy="5387545"/>
          </a:xfrm>
          <a:prstGeom prst="rect">
            <a:avLst/>
          </a:prstGeom>
          <a:solidFill>
            <a:srgbClr val="0079C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2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2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20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Tx/>
              <a:buNone/>
            </a:pPr>
            <a:endParaRPr lang="en-US" altLang="en-US" sz="2800">
              <a:solidFill>
                <a:srgbClr val="0079C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6AC938-8D36-4F35-B8BD-8459B0B081E2}"/>
              </a:ext>
            </a:extLst>
          </p:cNvPr>
          <p:cNvSpPr txBox="1"/>
          <p:nvPr/>
        </p:nvSpPr>
        <p:spPr>
          <a:xfrm>
            <a:off x="2386913" y="6185751"/>
            <a:ext cx="5047414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nding of Charging Infrastructure</a:t>
            </a:r>
            <a:endParaRPr lang="en-US" sz="200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0093882A-B9F4-400C-8F59-84F402C979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22357" y="4646141"/>
            <a:ext cx="6156695" cy="5387545"/>
          </a:xfrm>
          <a:prstGeom prst="rect">
            <a:avLst/>
          </a:prstGeom>
          <a:solidFill>
            <a:srgbClr val="0079C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2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2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20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Tx/>
              <a:buNone/>
            </a:pPr>
            <a:endParaRPr lang="en-US" altLang="en-US" sz="2800">
              <a:solidFill>
                <a:srgbClr val="0079C1"/>
              </a:solidFill>
            </a:endParaRPr>
          </a:p>
        </p:txBody>
      </p:sp>
      <p:sp>
        <p:nvSpPr>
          <p:cNvPr id="12" name="Rectangle 3">
            <a:extLst>
              <a:ext uri="{FF2B5EF4-FFF2-40B4-BE49-F238E27FC236}">
                <a16:creationId xmlns:a16="http://schemas.microsoft.com/office/drawing/2014/main" id="{3456B0BE-2859-4DE1-AC60-52534E04FC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612441" y="4646141"/>
            <a:ext cx="6156695" cy="5387545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  <p:txBody>
          <a:bodyPr/>
          <a:lstStyle>
            <a:lvl1pPr eaLnBrk="0" hangingPunct="0"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2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2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20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Tx/>
              <a:buNone/>
            </a:pPr>
            <a:endParaRPr lang="en-US" altLang="en-US" sz="2800">
              <a:solidFill>
                <a:srgbClr val="0079C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E6B4427-E637-4216-845D-FF2147AB0A57}"/>
              </a:ext>
            </a:extLst>
          </p:cNvPr>
          <p:cNvSpPr txBox="1"/>
          <p:nvPr/>
        </p:nvSpPr>
        <p:spPr>
          <a:xfrm>
            <a:off x="9276997" y="6896620"/>
            <a:ext cx="5047414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eet Advisory Studies</a:t>
            </a:r>
            <a:endParaRPr lang="en-US" sz="200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E6E8925-7F2E-4B38-9FAC-7784098A15F6}"/>
              </a:ext>
            </a:extLst>
          </p:cNvPr>
          <p:cNvSpPr txBox="1"/>
          <p:nvPr/>
        </p:nvSpPr>
        <p:spPr>
          <a:xfrm>
            <a:off x="16167081" y="6588843"/>
            <a:ext cx="5047414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4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eet Program (future)</a:t>
            </a:r>
            <a:endParaRPr lang="en-US" sz="180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Shape 88">
            <a:extLst>
              <a:ext uri="{FF2B5EF4-FFF2-40B4-BE49-F238E27FC236}">
                <a16:creationId xmlns:a16="http://schemas.microsoft.com/office/drawing/2014/main" id="{6E46EEE3-4D4B-4E3A-87CF-A3D21B3E0505}"/>
              </a:ext>
            </a:extLst>
          </p:cNvPr>
          <p:cNvSpPr/>
          <p:nvPr/>
        </p:nvSpPr>
        <p:spPr>
          <a:xfrm>
            <a:off x="444133" y="127692"/>
            <a:ext cx="23227792" cy="13781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normAutofit/>
          </a:bodyPr>
          <a:lstStyle>
            <a:lvl1pPr marR="5080" indent="12700" defTabSz="914400">
              <a:lnSpc>
                <a:spcPts val="9800"/>
              </a:lnSpc>
              <a:spcBef>
                <a:spcPts val="2400"/>
              </a:spcBef>
              <a:defRPr sz="6000" b="1" cap="all" spc="100" baseline="-34999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8000" dirty="0"/>
              <a:t>MA &amp; RI FLEET OFFERINGS</a:t>
            </a:r>
            <a:endParaRPr sz="8000" dirty="0"/>
          </a:p>
        </p:txBody>
      </p:sp>
    </p:spTree>
    <p:extLst>
      <p:ext uri="{BB962C8B-B14F-4D97-AF65-F5344CB8AC3E}">
        <p14:creationId xmlns:p14="http://schemas.microsoft.com/office/powerpoint/2010/main" val="3032185308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96D7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49"/>
          <p:cNvSpPr>
            <a:spLocks noGrp="1"/>
          </p:cNvSpPr>
          <p:nvPr>
            <p:ph type="sldNum" sz="quarter" idx="2"/>
          </p:nvPr>
        </p:nvSpPr>
        <p:spPr>
          <a:xfrm>
            <a:off x="23051033" y="12866342"/>
            <a:ext cx="182170" cy="368301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/>
          <a:lstStyle>
            <a:lvl1pPr>
              <a:defRPr sz="2400">
                <a:solidFill>
                  <a:srgbClr val="53585F"/>
                </a:solidFill>
              </a:defRPr>
            </a:lvl1pPr>
          </a:lstStyle>
          <a:p>
            <a:fld id="{86CB4B4D-7CA3-9044-876B-883B54F8677D}" type="slidenum">
              <a:t>5</a:t>
            </a:fld>
            <a:endParaRPr/>
          </a:p>
        </p:txBody>
      </p:sp>
      <p:sp>
        <p:nvSpPr>
          <p:cNvPr id="50" name="Shape 50"/>
          <p:cNvSpPr>
            <a:spLocks noGrp="1"/>
          </p:cNvSpPr>
          <p:nvPr>
            <p:ph type="title"/>
          </p:nvPr>
        </p:nvSpPr>
        <p:spPr>
          <a:xfrm>
            <a:off x="1778000" y="4941816"/>
            <a:ext cx="20828000" cy="2005085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52" name="Shape 52"/>
          <p:cNvSpPr/>
          <p:nvPr/>
        </p:nvSpPr>
        <p:spPr>
          <a:xfrm>
            <a:off x="0" y="-6509"/>
            <a:ext cx="24384000" cy="13716002"/>
          </a:xfrm>
          <a:prstGeom prst="rect">
            <a:avLst/>
          </a:prstGeom>
          <a:solidFill>
            <a:srgbClr val="00148C">
              <a:alpha val="88882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defTabSz="1828432">
              <a:defRPr sz="3600">
                <a:solidFill>
                  <a:srgbClr val="00148C"/>
                </a:solidFill>
                <a:latin typeface="+mj-lt"/>
                <a:ea typeface="+mj-ea"/>
                <a:cs typeface="+mj-cs"/>
                <a:sym typeface="Helvetica"/>
              </a:defRPr>
            </a:pPr>
            <a:endParaRPr dirty="0"/>
          </a:p>
        </p:txBody>
      </p:sp>
      <p:sp>
        <p:nvSpPr>
          <p:cNvPr id="54" name="Shape 54"/>
          <p:cNvSpPr/>
          <p:nvPr/>
        </p:nvSpPr>
        <p:spPr>
          <a:xfrm>
            <a:off x="1063210" y="3161383"/>
            <a:ext cx="8748155" cy="160077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normAutofit fontScale="70000" lnSpcReduction="20000"/>
          </a:bodyPr>
          <a:lstStyle/>
          <a:p>
            <a:pPr marR="5080" indent="12700" algn="l" defTabSz="914400">
              <a:lnSpc>
                <a:spcPts val="9800"/>
              </a:lnSpc>
              <a:defRPr sz="10000" b="1" baseline="-10539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20700" dirty="0">
                <a:solidFill>
                  <a:srgbClr val="DCBD23"/>
                </a:solidFill>
              </a:rPr>
              <a:t>Learn more @</a:t>
            </a:r>
          </a:p>
          <a:p>
            <a:pPr marR="5080" indent="12700" algn="l" defTabSz="914400">
              <a:lnSpc>
                <a:spcPts val="9800"/>
              </a:lnSpc>
              <a:defRPr sz="10000" b="1" baseline="-10539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lang="en-US" sz="12000" dirty="0">
              <a:solidFill>
                <a:srgbClr val="DCBD23"/>
              </a:solidFill>
            </a:endParaRPr>
          </a:p>
        </p:txBody>
      </p:sp>
      <p:pic>
        <p:nvPicPr>
          <p:cNvPr id="55" name="image2.png"/>
          <p:cNvPicPr>
            <a:picLocks noChangeAspect="1"/>
          </p:cNvPicPr>
          <p:nvPr/>
        </p:nvPicPr>
        <p:blipFill>
          <a:blip r:embed="rId2"/>
          <a:srcRect l="7480" t="27065" r="32611"/>
          <a:stretch>
            <a:fillRect/>
          </a:stretch>
        </p:blipFill>
        <p:spPr>
          <a:xfrm rot="5400000" flipH="1">
            <a:off x="12813819" y="1942524"/>
            <a:ext cx="13577573" cy="9576873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75" name="Group 75"/>
          <p:cNvGrpSpPr/>
          <p:nvPr/>
        </p:nvGrpSpPr>
        <p:grpSpPr>
          <a:xfrm>
            <a:off x="1370781" y="847730"/>
            <a:ext cx="4520926" cy="934202"/>
            <a:chOff x="0" y="0"/>
            <a:chExt cx="4520925" cy="934200"/>
          </a:xfrm>
        </p:grpSpPr>
        <p:sp>
          <p:nvSpPr>
            <p:cNvPr id="56" name="Shape 56"/>
            <p:cNvSpPr/>
            <p:nvPr/>
          </p:nvSpPr>
          <p:spPr>
            <a:xfrm>
              <a:off x="3840354" y="0"/>
              <a:ext cx="179657" cy="1796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927"/>
                  </a:moveTo>
                  <a:lnTo>
                    <a:pt x="10673" y="21600"/>
                  </a:lnTo>
                  <a:lnTo>
                    <a:pt x="0" y="10927"/>
                  </a:lnTo>
                  <a:lnTo>
                    <a:pt x="10673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algn="l" defTabSz="914400">
                <a:spcBef>
                  <a:spcPts val="600"/>
                </a:spcBef>
                <a:defRPr sz="1800" b="1">
                  <a:solidFill>
                    <a:srgbClr val="00148C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57" name="Shape 57"/>
            <p:cNvSpPr/>
            <p:nvPr/>
          </p:nvSpPr>
          <p:spPr>
            <a:xfrm>
              <a:off x="3867831" y="272650"/>
              <a:ext cx="122590" cy="469216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algn="l" defTabSz="914400">
                <a:spcBef>
                  <a:spcPts val="600"/>
                </a:spcBef>
                <a:defRPr sz="1800" b="1">
                  <a:solidFill>
                    <a:srgbClr val="00148C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58" name="Shape 58"/>
            <p:cNvSpPr/>
            <p:nvPr/>
          </p:nvSpPr>
          <p:spPr>
            <a:xfrm>
              <a:off x="0" y="276878"/>
              <a:ext cx="365649" cy="46710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586"/>
                  </a:moveTo>
                  <a:lnTo>
                    <a:pt x="3246" y="586"/>
                  </a:lnTo>
                  <a:lnTo>
                    <a:pt x="3246" y="4203"/>
                  </a:lnTo>
                  <a:lnTo>
                    <a:pt x="3371" y="4203"/>
                  </a:lnTo>
                  <a:cubicBezTo>
                    <a:pt x="4495" y="1662"/>
                    <a:pt x="8116" y="0"/>
                    <a:pt x="11861" y="0"/>
                  </a:cubicBezTo>
                  <a:cubicBezTo>
                    <a:pt x="19353" y="0"/>
                    <a:pt x="21600" y="3128"/>
                    <a:pt x="21600" y="8112"/>
                  </a:cubicBezTo>
                  <a:lnTo>
                    <a:pt x="21600" y="21600"/>
                  </a:lnTo>
                  <a:lnTo>
                    <a:pt x="18354" y="21600"/>
                  </a:lnTo>
                  <a:lnTo>
                    <a:pt x="18354" y="8503"/>
                  </a:lnTo>
                  <a:cubicBezTo>
                    <a:pt x="18354" y="4887"/>
                    <a:pt x="16856" y="2150"/>
                    <a:pt x="11612" y="2150"/>
                  </a:cubicBezTo>
                  <a:cubicBezTo>
                    <a:pt x="6492" y="2150"/>
                    <a:pt x="3371" y="5278"/>
                    <a:pt x="3246" y="9285"/>
                  </a:cubicBezTo>
                  <a:lnTo>
                    <a:pt x="3246" y="21502"/>
                  </a:lnTo>
                  <a:lnTo>
                    <a:pt x="0" y="21502"/>
                  </a:lnTo>
                  <a:lnTo>
                    <a:pt x="0" y="586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algn="l" defTabSz="914400">
                <a:spcBef>
                  <a:spcPts val="600"/>
                </a:spcBef>
                <a:defRPr sz="1800" b="1">
                  <a:solidFill>
                    <a:srgbClr val="00148C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59" name="Shape 59"/>
            <p:cNvSpPr/>
            <p:nvPr/>
          </p:nvSpPr>
          <p:spPr>
            <a:xfrm>
              <a:off x="0" y="276878"/>
              <a:ext cx="365649" cy="46710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586"/>
                  </a:moveTo>
                  <a:lnTo>
                    <a:pt x="3246" y="586"/>
                  </a:lnTo>
                  <a:lnTo>
                    <a:pt x="3246" y="4203"/>
                  </a:lnTo>
                  <a:lnTo>
                    <a:pt x="3371" y="4203"/>
                  </a:lnTo>
                  <a:cubicBezTo>
                    <a:pt x="4620" y="1662"/>
                    <a:pt x="8116" y="0"/>
                    <a:pt x="11861" y="0"/>
                  </a:cubicBezTo>
                  <a:cubicBezTo>
                    <a:pt x="19353" y="0"/>
                    <a:pt x="21600" y="3128"/>
                    <a:pt x="21600" y="8112"/>
                  </a:cubicBezTo>
                  <a:lnTo>
                    <a:pt x="21600" y="21600"/>
                  </a:lnTo>
                  <a:lnTo>
                    <a:pt x="18354" y="21600"/>
                  </a:lnTo>
                  <a:lnTo>
                    <a:pt x="18354" y="8503"/>
                  </a:lnTo>
                  <a:cubicBezTo>
                    <a:pt x="18354" y="4887"/>
                    <a:pt x="16856" y="2150"/>
                    <a:pt x="11612" y="2150"/>
                  </a:cubicBezTo>
                  <a:cubicBezTo>
                    <a:pt x="6492" y="2150"/>
                    <a:pt x="3371" y="5278"/>
                    <a:pt x="3246" y="9383"/>
                  </a:cubicBezTo>
                  <a:lnTo>
                    <a:pt x="3246" y="21600"/>
                  </a:lnTo>
                  <a:lnTo>
                    <a:pt x="0" y="21600"/>
                  </a:lnTo>
                  <a:lnTo>
                    <a:pt x="0" y="586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algn="l" defTabSz="914400">
                <a:spcBef>
                  <a:spcPts val="600"/>
                </a:spcBef>
                <a:defRPr sz="1800" b="1">
                  <a:solidFill>
                    <a:srgbClr val="00148C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0" name="Shape 60"/>
            <p:cNvSpPr/>
            <p:nvPr/>
          </p:nvSpPr>
          <p:spPr>
            <a:xfrm>
              <a:off x="443849" y="276878"/>
              <a:ext cx="418489" cy="4818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255" y="9758"/>
                  </a:moveTo>
                  <a:cubicBezTo>
                    <a:pt x="15818" y="10326"/>
                    <a:pt x="14509" y="10516"/>
                    <a:pt x="13745" y="10705"/>
                  </a:cubicBezTo>
                  <a:cubicBezTo>
                    <a:pt x="8945" y="11463"/>
                    <a:pt x="2945" y="11368"/>
                    <a:pt x="2945" y="15347"/>
                  </a:cubicBezTo>
                  <a:cubicBezTo>
                    <a:pt x="2945" y="17811"/>
                    <a:pt x="5455" y="19326"/>
                    <a:pt x="8182" y="19326"/>
                  </a:cubicBezTo>
                  <a:cubicBezTo>
                    <a:pt x="12545" y="19326"/>
                    <a:pt x="16364" y="16958"/>
                    <a:pt x="16255" y="12979"/>
                  </a:cubicBezTo>
                  <a:lnTo>
                    <a:pt x="16255" y="9758"/>
                  </a:lnTo>
                  <a:close/>
                  <a:moveTo>
                    <a:pt x="1091" y="6821"/>
                  </a:moveTo>
                  <a:cubicBezTo>
                    <a:pt x="1309" y="2084"/>
                    <a:pt x="5236" y="0"/>
                    <a:pt x="10473" y="0"/>
                  </a:cubicBezTo>
                  <a:cubicBezTo>
                    <a:pt x="14618" y="0"/>
                    <a:pt x="19091" y="1137"/>
                    <a:pt x="19091" y="6537"/>
                  </a:cubicBezTo>
                  <a:lnTo>
                    <a:pt x="19091" y="17337"/>
                  </a:lnTo>
                  <a:cubicBezTo>
                    <a:pt x="19091" y="18284"/>
                    <a:pt x="19636" y="18853"/>
                    <a:pt x="20727" y="18853"/>
                  </a:cubicBezTo>
                  <a:cubicBezTo>
                    <a:pt x="21055" y="18853"/>
                    <a:pt x="21382" y="18758"/>
                    <a:pt x="21600" y="18663"/>
                  </a:cubicBezTo>
                  <a:lnTo>
                    <a:pt x="21600" y="20747"/>
                  </a:lnTo>
                  <a:cubicBezTo>
                    <a:pt x="20945" y="20842"/>
                    <a:pt x="20509" y="20937"/>
                    <a:pt x="19745" y="20937"/>
                  </a:cubicBezTo>
                  <a:cubicBezTo>
                    <a:pt x="16909" y="20937"/>
                    <a:pt x="16364" y="19516"/>
                    <a:pt x="16364" y="17432"/>
                  </a:cubicBezTo>
                  <a:cubicBezTo>
                    <a:pt x="14400" y="20084"/>
                    <a:pt x="12327" y="21600"/>
                    <a:pt x="7855" y="21600"/>
                  </a:cubicBezTo>
                  <a:cubicBezTo>
                    <a:pt x="3600" y="21600"/>
                    <a:pt x="0" y="19705"/>
                    <a:pt x="0" y="15632"/>
                  </a:cubicBezTo>
                  <a:cubicBezTo>
                    <a:pt x="0" y="9947"/>
                    <a:pt x="6327" y="9758"/>
                    <a:pt x="12545" y="9095"/>
                  </a:cubicBezTo>
                  <a:cubicBezTo>
                    <a:pt x="14945" y="8905"/>
                    <a:pt x="16145" y="8621"/>
                    <a:pt x="16145" y="6347"/>
                  </a:cubicBezTo>
                  <a:cubicBezTo>
                    <a:pt x="16145" y="3032"/>
                    <a:pt x="13418" y="2179"/>
                    <a:pt x="10036" y="2179"/>
                  </a:cubicBezTo>
                  <a:cubicBezTo>
                    <a:pt x="6545" y="2179"/>
                    <a:pt x="3927" y="3600"/>
                    <a:pt x="3818" y="6916"/>
                  </a:cubicBezTo>
                  <a:lnTo>
                    <a:pt x="1091" y="6916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algn="l" defTabSz="914400">
                <a:spcBef>
                  <a:spcPts val="600"/>
                </a:spcBef>
                <a:defRPr sz="1800" b="1">
                  <a:solidFill>
                    <a:srgbClr val="00148C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1" name="Shape 61"/>
            <p:cNvSpPr/>
            <p:nvPr/>
          </p:nvSpPr>
          <p:spPr>
            <a:xfrm>
              <a:off x="896152" y="154290"/>
              <a:ext cx="224041" cy="5939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838" y="4920"/>
                  </a:moveTo>
                  <a:lnTo>
                    <a:pt x="21600" y="4920"/>
                  </a:lnTo>
                  <a:lnTo>
                    <a:pt x="21600" y="6611"/>
                  </a:lnTo>
                  <a:lnTo>
                    <a:pt x="12838" y="6611"/>
                  </a:lnTo>
                  <a:lnTo>
                    <a:pt x="12838" y="17757"/>
                  </a:lnTo>
                  <a:cubicBezTo>
                    <a:pt x="12838" y="19063"/>
                    <a:pt x="13449" y="19832"/>
                    <a:pt x="17117" y="19909"/>
                  </a:cubicBezTo>
                  <a:cubicBezTo>
                    <a:pt x="18543" y="19909"/>
                    <a:pt x="20174" y="19909"/>
                    <a:pt x="21600" y="19832"/>
                  </a:cubicBezTo>
                  <a:lnTo>
                    <a:pt x="21600" y="21523"/>
                  </a:lnTo>
                  <a:cubicBezTo>
                    <a:pt x="19970" y="21523"/>
                    <a:pt x="18543" y="21600"/>
                    <a:pt x="16913" y="21600"/>
                  </a:cubicBezTo>
                  <a:cubicBezTo>
                    <a:pt x="9781" y="21600"/>
                    <a:pt x="7336" y="20678"/>
                    <a:pt x="7540" y="17910"/>
                  </a:cubicBezTo>
                  <a:lnTo>
                    <a:pt x="7540" y="6611"/>
                  </a:lnTo>
                  <a:lnTo>
                    <a:pt x="0" y="6611"/>
                  </a:lnTo>
                  <a:lnTo>
                    <a:pt x="0" y="4920"/>
                  </a:lnTo>
                  <a:lnTo>
                    <a:pt x="7540" y="4920"/>
                  </a:lnTo>
                  <a:lnTo>
                    <a:pt x="7540" y="0"/>
                  </a:lnTo>
                  <a:lnTo>
                    <a:pt x="12838" y="0"/>
                  </a:lnTo>
                  <a:lnTo>
                    <a:pt x="12838" y="492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algn="l" defTabSz="914400">
                <a:spcBef>
                  <a:spcPts val="600"/>
                </a:spcBef>
                <a:defRPr sz="1800" b="1">
                  <a:solidFill>
                    <a:srgbClr val="00148C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2" name="Shape 62"/>
            <p:cNvSpPr/>
            <p:nvPr/>
          </p:nvSpPr>
          <p:spPr>
            <a:xfrm>
              <a:off x="896152" y="154290"/>
              <a:ext cx="224041" cy="5939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838" y="4920"/>
                  </a:moveTo>
                  <a:lnTo>
                    <a:pt x="21600" y="4920"/>
                  </a:lnTo>
                  <a:lnTo>
                    <a:pt x="21600" y="6611"/>
                  </a:lnTo>
                  <a:lnTo>
                    <a:pt x="12838" y="6611"/>
                  </a:lnTo>
                  <a:lnTo>
                    <a:pt x="12838" y="17757"/>
                  </a:lnTo>
                  <a:cubicBezTo>
                    <a:pt x="12838" y="19063"/>
                    <a:pt x="13449" y="19832"/>
                    <a:pt x="17117" y="19909"/>
                  </a:cubicBezTo>
                  <a:cubicBezTo>
                    <a:pt x="18543" y="19909"/>
                    <a:pt x="20174" y="19909"/>
                    <a:pt x="21600" y="19832"/>
                  </a:cubicBezTo>
                  <a:lnTo>
                    <a:pt x="21600" y="21523"/>
                  </a:lnTo>
                  <a:cubicBezTo>
                    <a:pt x="19970" y="21523"/>
                    <a:pt x="18543" y="21600"/>
                    <a:pt x="16913" y="21600"/>
                  </a:cubicBezTo>
                  <a:cubicBezTo>
                    <a:pt x="9781" y="21600"/>
                    <a:pt x="7336" y="20678"/>
                    <a:pt x="7540" y="17910"/>
                  </a:cubicBezTo>
                  <a:lnTo>
                    <a:pt x="7540" y="6611"/>
                  </a:lnTo>
                  <a:lnTo>
                    <a:pt x="0" y="6611"/>
                  </a:lnTo>
                  <a:lnTo>
                    <a:pt x="0" y="4920"/>
                  </a:lnTo>
                  <a:lnTo>
                    <a:pt x="7540" y="4920"/>
                  </a:lnTo>
                  <a:lnTo>
                    <a:pt x="7540" y="0"/>
                  </a:lnTo>
                  <a:lnTo>
                    <a:pt x="12838" y="0"/>
                  </a:lnTo>
                  <a:lnTo>
                    <a:pt x="12838" y="492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algn="l" defTabSz="914400">
                <a:spcBef>
                  <a:spcPts val="600"/>
                </a:spcBef>
                <a:defRPr sz="1800" b="1">
                  <a:solidFill>
                    <a:srgbClr val="00148C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3" name="Shape 63"/>
            <p:cNvSpPr/>
            <p:nvPr/>
          </p:nvSpPr>
          <p:spPr>
            <a:xfrm>
              <a:off x="1221642" y="116246"/>
              <a:ext cx="54955" cy="62562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5984"/>
                  </a:moveTo>
                  <a:lnTo>
                    <a:pt x="21600" y="5984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5984"/>
                  </a:lnTo>
                  <a:close/>
                  <a:moveTo>
                    <a:pt x="0" y="0"/>
                  </a:moveTo>
                  <a:lnTo>
                    <a:pt x="21600" y="0"/>
                  </a:lnTo>
                  <a:lnTo>
                    <a:pt x="21600" y="3065"/>
                  </a:lnTo>
                  <a:lnTo>
                    <a:pt x="0" y="30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algn="l" defTabSz="914400">
                <a:spcBef>
                  <a:spcPts val="600"/>
                </a:spcBef>
                <a:defRPr sz="1800" b="1">
                  <a:solidFill>
                    <a:srgbClr val="00148C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4" name="Shape 64"/>
            <p:cNvSpPr/>
            <p:nvPr/>
          </p:nvSpPr>
          <p:spPr>
            <a:xfrm>
              <a:off x="1221642" y="289559"/>
              <a:ext cx="54955" cy="452307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algn="l" defTabSz="914400">
                <a:spcBef>
                  <a:spcPts val="600"/>
                </a:spcBef>
                <a:defRPr sz="1800" b="1">
                  <a:solidFill>
                    <a:srgbClr val="00148C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5" name="Shape 65"/>
            <p:cNvSpPr/>
            <p:nvPr/>
          </p:nvSpPr>
          <p:spPr>
            <a:xfrm>
              <a:off x="1221642" y="116246"/>
              <a:ext cx="54955" cy="88773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algn="l" defTabSz="914400">
                <a:spcBef>
                  <a:spcPts val="600"/>
                </a:spcBef>
                <a:defRPr sz="1800" b="1">
                  <a:solidFill>
                    <a:srgbClr val="00148C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6" name="Shape 66"/>
            <p:cNvSpPr/>
            <p:nvPr/>
          </p:nvSpPr>
          <p:spPr>
            <a:xfrm>
              <a:off x="1359024" y="276878"/>
              <a:ext cx="426943" cy="47766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780" y="10800"/>
                  </a:moveTo>
                  <a:cubicBezTo>
                    <a:pt x="2780" y="15196"/>
                    <a:pt x="5453" y="19497"/>
                    <a:pt x="10800" y="19497"/>
                  </a:cubicBezTo>
                  <a:cubicBezTo>
                    <a:pt x="16147" y="19497"/>
                    <a:pt x="18820" y="15101"/>
                    <a:pt x="18820" y="10800"/>
                  </a:cubicBezTo>
                  <a:cubicBezTo>
                    <a:pt x="18820" y="6404"/>
                    <a:pt x="16147" y="2103"/>
                    <a:pt x="10800" y="2103"/>
                  </a:cubicBezTo>
                  <a:cubicBezTo>
                    <a:pt x="5453" y="2103"/>
                    <a:pt x="2780" y="6404"/>
                    <a:pt x="2780" y="10800"/>
                  </a:cubicBezTo>
                  <a:moveTo>
                    <a:pt x="21600" y="10800"/>
                  </a:moveTo>
                  <a:cubicBezTo>
                    <a:pt x="21600" y="16630"/>
                    <a:pt x="17750" y="21600"/>
                    <a:pt x="10800" y="21600"/>
                  </a:cubicBezTo>
                  <a:cubicBezTo>
                    <a:pt x="3849" y="21600"/>
                    <a:pt x="0" y="16630"/>
                    <a:pt x="0" y="10800"/>
                  </a:cubicBezTo>
                  <a:cubicBezTo>
                    <a:pt x="0" y="4970"/>
                    <a:pt x="3849" y="0"/>
                    <a:pt x="10800" y="0"/>
                  </a:cubicBezTo>
                  <a:cubicBezTo>
                    <a:pt x="17750" y="0"/>
                    <a:pt x="21600" y="4970"/>
                    <a:pt x="21600" y="10800"/>
                  </a:cubicBezTo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algn="l" defTabSz="914400">
                <a:spcBef>
                  <a:spcPts val="600"/>
                </a:spcBef>
                <a:defRPr sz="1800" b="1">
                  <a:solidFill>
                    <a:srgbClr val="00148C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7" name="Shape 67"/>
            <p:cNvSpPr/>
            <p:nvPr/>
          </p:nvSpPr>
          <p:spPr>
            <a:xfrm>
              <a:off x="1866281" y="276878"/>
              <a:ext cx="365650" cy="46710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586"/>
                  </a:moveTo>
                  <a:lnTo>
                    <a:pt x="3246" y="586"/>
                  </a:lnTo>
                  <a:lnTo>
                    <a:pt x="3246" y="4203"/>
                  </a:lnTo>
                  <a:lnTo>
                    <a:pt x="3371" y="4203"/>
                  </a:lnTo>
                  <a:cubicBezTo>
                    <a:pt x="4620" y="1662"/>
                    <a:pt x="8116" y="0"/>
                    <a:pt x="11861" y="0"/>
                  </a:cubicBezTo>
                  <a:cubicBezTo>
                    <a:pt x="19353" y="0"/>
                    <a:pt x="21600" y="3128"/>
                    <a:pt x="21600" y="8112"/>
                  </a:cubicBezTo>
                  <a:lnTo>
                    <a:pt x="21600" y="21600"/>
                  </a:lnTo>
                  <a:lnTo>
                    <a:pt x="18354" y="21600"/>
                  </a:lnTo>
                  <a:lnTo>
                    <a:pt x="18354" y="8503"/>
                  </a:lnTo>
                  <a:cubicBezTo>
                    <a:pt x="18354" y="4887"/>
                    <a:pt x="16856" y="2150"/>
                    <a:pt x="11612" y="2150"/>
                  </a:cubicBezTo>
                  <a:cubicBezTo>
                    <a:pt x="6492" y="2150"/>
                    <a:pt x="3371" y="5278"/>
                    <a:pt x="3246" y="9285"/>
                  </a:cubicBezTo>
                  <a:lnTo>
                    <a:pt x="3246" y="21502"/>
                  </a:lnTo>
                  <a:lnTo>
                    <a:pt x="0" y="21502"/>
                  </a:lnTo>
                  <a:lnTo>
                    <a:pt x="0" y="586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algn="l" defTabSz="914400">
                <a:spcBef>
                  <a:spcPts val="600"/>
                </a:spcBef>
                <a:defRPr sz="1800" b="1">
                  <a:solidFill>
                    <a:srgbClr val="00148C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8" name="Shape 68"/>
            <p:cNvSpPr/>
            <p:nvPr/>
          </p:nvSpPr>
          <p:spPr>
            <a:xfrm>
              <a:off x="1866281" y="276878"/>
              <a:ext cx="365650" cy="46710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586"/>
                  </a:moveTo>
                  <a:lnTo>
                    <a:pt x="3246" y="586"/>
                  </a:lnTo>
                  <a:lnTo>
                    <a:pt x="3246" y="4203"/>
                  </a:lnTo>
                  <a:lnTo>
                    <a:pt x="3371" y="4203"/>
                  </a:lnTo>
                  <a:cubicBezTo>
                    <a:pt x="4620" y="1662"/>
                    <a:pt x="8116" y="0"/>
                    <a:pt x="11861" y="0"/>
                  </a:cubicBezTo>
                  <a:cubicBezTo>
                    <a:pt x="19353" y="0"/>
                    <a:pt x="21600" y="3128"/>
                    <a:pt x="21600" y="8112"/>
                  </a:cubicBezTo>
                  <a:lnTo>
                    <a:pt x="21600" y="21600"/>
                  </a:lnTo>
                  <a:lnTo>
                    <a:pt x="18354" y="21600"/>
                  </a:lnTo>
                  <a:lnTo>
                    <a:pt x="18354" y="8503"/>
                  </a:lnTo>
                  <a:cubicBezTo>
                    <a:pt x="18354" y="4887"/>
                    <a:pt x="16856" y="2150"/>
                    <a:pt x="11612" y="2150"/>
                  </a:cubicBezTo>
                  <a:cubicBezTo>
                    <a:pt x="6492" y="2150"/>
                    <a:pt x="3371" y="5278"/>
                    <a:pt x="3246" y="9383"/>
                  </a:cubicBezTo>
                  <a:lnTo>
                    <a:pt x="3246" y="21600"/>
                  </a:lnTo>
                  <a:lnTo>
                    <a:pt x="0" y="21600"/>
                  </a:lnTo>
                  <a:lnTo>
                    <a:pt x="0" y="586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algn="l" defTabSz="914400">
                <a:spcBef>
                  <a:spcPts val="600"/>
                </a:spcBef>
                <a:defRPr sz="1800" b="1">
                  <a:solidFill>
                    <a:srgbClr val="00148C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9" name="Shape 69"/>
            <p:cNvSpPr/>
            <p:nvPr/>
          </p:nvSpPr>
          <p:spPr>
            <a:xfrm>
              <a:off x="2310130" y="276878"/>
              <a:ext cx="418490" cy="4818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255" y="9758"/>
                  </a:moveTo>
                  <a:cubicBezTo>
                    <a:pt x="15818" y="10326"/>
                    <a:pt x="14509" y="10516"/>
                    <a:pt x="13745" y="10705"/>
                  </a:cubicBezTo>
                  <a:cubicBezTo>
                    <a:pt x="8945" y="11463"/>
                    <a:pt x="2945" y="11368"/>
                    <a:pt x="2945" y="15347"/>
                  </a:cubicBezTo>
                  <a:cubicBezTo>
                    <a:pt x="2945" y="17811"/>
                    <a:pt x="5455" y="19326"/>
                    <a:pt x="8182" y="19326"/>
                  </a:cubicBezTo>
                  <a:cubicBezTo>
                    <a:pt x="12545" y="19326"/>
                    <a:pt x="16364" y="16958"/>
                    <a:pt x="16255" y="12979"/>
                  </a:cubicBezTo>
                  <a:lnTo>
                    <a:pt x="16255" y="9758"/>
                  </a:lnTo>
                  <a:close/>
                  <a:moveTo>
                    <a:pt x="1091" y="6821"/>
                  </a:moveTo>
                  <a:cubicBezTo>
                    <a:pt x="1418" y="2084"/>
                    <a:pt x="5236" y="0"/>
                    <a:pt x="10473" y="0"/>
                  </a:cubicBezTo>
                  <a:cubicBezTo>
                    <a:pt x="14618" y="0"/>
                    <a:pt x="19091" y="1137"/>
                    <a:pt x="19091" y="6537"/>
                  </a:cubicBezTo>
                  <a:lnTo>
                    <a:pt x="19091" y="17337"/>
                  </a:lnTo>
                  <a:cubicBezTo>
                    <a:pt x="19091" y="18284"/>
                    <a:pt x="19636" y="18853"/>
                    <a:pt x="20727" y="18853"/>
                  </a:cubicBezTo>
                  <a:cubicBezTo>
                    <a:pt x="21055" y="18853"/>
                    <a:pt x="21382" y="18758"/>
                    <a:pt x="21600" y="18663"/>
                  </a:cubicBezTo>
                  <a:lnTo>
                    <a:pt x="21600" y="20747"/>
                  </a:lnTo>
                  <a:cubicBezTo>
                    <a:pt x="20945" y="20842"/>
                    <a:pt x="20509" y="20937"/>
                    <a:pt x="19745" y="20937"/>
                  </a:cubicBezTo>
                  <a:cubicBezTo>
                    <a:pt x="16909" y="20937"/>
                    <a:pt x="16364" y="19516"/>
                    <a:pt x="16364" y="17432"/>
                  </a:cubicBezTo>
                  <a:lnTo>
                    <a:pt x="16255" y="17432"/>
                  </a:lnTo>
                  <a:cubicBezTo>
                    <a:pt x="14291" y="20084"/>
                    <a:pt x="12218" y="21600"/>
                    <a:pt x="7745" y="21600"/>
                  </a:cubicBezTo>
                  <a:cubicBezTo>
                    <a:pt x="3491" y="21600"/>
                    <a:pt x="0" y="19705"/>
                    <a:pt x="0" y="15632"/>
                  </a:cubicBezTo>
                  <a:cubicBezTo>
                    <a:pt x="0" y="9947"/>
                    <a:pt x="6327" y="9758"/>
                    <a:pt x="12436" y="9095"/>
                  </a:cubicBezTo>
                  <a:cubicBezTo>
                    <a:pt x="14727" y="8905"/>
                    <a:pt x="16036" y="8621"/>
                    <a:pt x="16036" y="6347"/>
                  </a:cubicBezTo>
                  <a:cubicBezTo>
                    <a:pt x="16036" y="3032"/>
                    <a:pt x="13309" y="2179"/>
                    <a:pt x="9927" y="2179"/>
                  </a:cubicBezTo>
                  <a:cubicBezTo>
                    <a:pt x="6436" y="2179"/>
                    <a:pt x="3818" y="3600"/>
                    <a:pt x="3709" y="6916"/>
                  </a:cubicBezTo>
                  <a:lnTo>
                    <a:pt x="1091" y="6916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algn="l" defTabSz="914400">
                <a:spcBef>
                  <a:spcPts val="600"/>
                </a:spcBef>
                <a:defRPr sz="1800" b="1">
                  <a:solidFill>
                    <a:srgbClr val="00148C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70" name="Shape 70"/>
            <p:cNvSpPr/>
            <p:nvPr/>
          </p:nvSpPr>
          <p:spPr>
            <a:xfrm>
              <a:off x="2819501" y="116246"/>
              <a:ext cx="54956" cy="62773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algn="l" defTabSz="914400">
                <a:spcBef>
                  <a:spcPts val="600"/>
                </a:spcBef>
                <a:defRPr sz="1800" b="1">
                  <a:solidFill>
                    <a:srgbClr val="00148C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71" name="Shape 71"/>
            <p:cNvSpPr/>
            <p:nvPr/>
          </p:nvSpPr>
          <p:spPr>
            <a:xfrm>
              <a:off x="2819501" y="116246"/>
              <a:ext cx="54956" cy="62773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algn="l" defTabSz="914400">
                <a:spcBef>
                  <a:spcPts val="600"/>
                </a:spcBef>
                <a:defRPr sz="1800" b="1">
                  <a:solidFill>
                    <a:srgbClr val="00148C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72" name="Shape 72"/>
            <p:cNvSpPr/>
            <p:nvPr/>
          </p:nvSpPr>
          <p:spPr>
            <a:xfrm>
              <a:off x="2961110" y="262083"/>
              <a:ext cx="448079" cy="6721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12226"/>
                  </a:moveTo>
                  <a:cubicBezTo>
                    <a:pt x="14774" y="12226"/>
                    <a:pt x="15792" y="9917"/>
                    <a:pt x="15792" y="7879"/>
                  </a:cubicBezTo>
                  <a:cubicBezTo>
                    <a:pt x="15792" y="5434"/>
                    <a:pt x="14060" y="3464"/>
                    <a:pt x="10698" y="3464"/>
                  </a:cubicBezTo>
                  <a:cubicBezTo>
                    <a:pt x="8558" y="3464"/>
                    <a:pt x="6113" y="4551"/>
                    <a:pt x="6113" y="8015"/>
                  </a:cubicBezTo>
                  <a:cubicBezTo>
                    <a:pt x="6113" y="9917"/>
                    <a:pt x="7234" y="12226"/>
                    <a:pt x="10800" y="12226"/>
                  </a:cubicBezTo>
                  <a:moveTo>
                    <a:pt x="21600" y="408"/>
                  </a:moveTo>
                  <a:lnTo>
                    <a:pt x="21600" y="14672"/>
                  </a:lnTo>
                  <a:cubicBezTo>
                    <a:pt x="21600" y="17253"/>
                    <a:pt x="21294" y="21600"/>
                    <a:pt x="10291" y="21600"/>
                  </a:cubicBezTo>
                  <a:cubicBezTo>
                    <a:pt x="5706" y="21600"/>
                    <a:pt x="815" y="20242"/>
                    <a:pt x="509" y="17117"/>
                  </a:cubicBezTo>
                  <a:lnTo>
                    <a:pt x="6928" y="17117"/>
                  </a:lnTo>
                  <a:cubicBezTo>
                    <a:pt x="7234" y="17864"/>
                    <a:pt x="7641" y="18611"/>
                    <a:pt x="11106" y="18611"/>
                  </a:cubicBezTo>
                  <a:cubicBezTo>
                    <a:pt x="14264" y="18611"/>
                    <a:pt x="15792" y="17592"/>
                    <a:pt x="15792" y="15147"/>
                  </a:cubicBezTo>
                  <a:lnTo>
                    <a:pt x="15792" y="13313"/>
                  </a:lnTo>
                  <a:lnTo>
                    <a:pt x="15691" y="13245"/>
                  </a:lnTo>
                  <a:cubicBezTo>
                    <a:pt x="14774" y="14400"/>
                    <a:pt x="13245" y="15487"/>
                    <a:pt x="9679" y="15487"/>
                  </a:cubicBezTo>
                  <a:cubicBezTo>
                    <a:pt x="4279" y="15487"/>
                    <a:pt x="0" y="12974"/>
                    <a:pt x="0" y="7743"/>
                  </a:cubicBezTo>
                  <a:cubicBezTo>
                    <a:pt x="0" y="2581"/>
                    <a:pt x="4381" y="0"/>
                    <a:pt x="9272" y="0"/>
                  </a:cubicBezTo>
                  <a:cubicBezTo>
                    <a:pt x="13449" y="0"/>
                    <a:pt x="15079" y="1630"/>
                    <a:pt x="15792" y="2649"/>
                  </a:cubicBezTo>
                  <a:lnTo>
                    <a:pt x="15894" y="2649"/>
                  </a:lnTo>
                  <a:lnTo>
                    <a:pt x="15894" y="408"/>
                  </a:lnTo>
                  <a:lnTo>
                    <a:pt x="21600" y="408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algn="l" defTabSz="914400">
                <a:spcBef>
                  <a:spcPts val="600"/>
                </a:spcBef>
                <a:defRPr sz="1800" b="1">
                  <a:solidFill>
                    <a:srgbClr val="00148C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73" name="Shape 73"/>
            <p:cNvSpPr/>
            <p:nvPr/>
          </p:nvSpPr>
          <p:spPr>
            <a:xfrm>
              <a:off x="3512751" y="262083"/>
              <a:ext cx="270539" cy="47978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9" y="571"/>
                  </a:moveTo>
                  <a:lnTo>
                    <a:pt x="9450" y="571"/>
                  </a:lnTo>
                  <a:lnTo>
                    <a:pt x="9450" y="4187"/>
                  </a:lnTo>
                  <a:lnTo>
                    <a:pt x="9619" y="4187"/>
                  </a:lnTo>
                  <a:cubicBezTo>
                    <a:pt x="11644" y="2093"/>
                    <a:pt x="13837" y="0"/>
                    <a:pt x="19744" y="0"/>
                  </a:cubicBezTo>
                  <a:cubicBezTo>
                    <a:pt x="20419" y="0"/>
                    <a:pt x="20925" y="0"/>
                    <a:pt x="21600" y="95"/>
                  </a:cubicBezTo>
                  <a:lnTo>
                    <a:pt x="21600" y="5709"/>
                  </a:lnTo>
                  <a:cubicBezTo>
                    <a:pt x="20756" y="5614"/>
                    <a:pt x="19744" y="5614"/>
                    <a:pt x="18731" y="5614"/>
                  </a:cubicBezTo>
                  <a:cubicBezTo>
                    <a:pt x="11138" y="5614"/>
                    <a:pt x="9787" y="8278"/>
                    <a:pt x="9787" y="10657"/>
                  </a:cubicBezTo>
                  <a:lnTo>
                    <a:pt x="9787" y="21600"/>
                  </a:lnTo>
                  <a:lnTo>
                    <a:pt x="0" y="21600"/>
                  </a:lnTo>
                  <a:lnTo>
                    <a:pt x="0" y="571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algn="l" defTabSz="914400">
                <a:spcBef>
                  <a:spcPts val="600"/>
                </a:spcBef>
                <a:defRPr sz="1800" b="1">
                  <a:solidFill>
                    <a:srgbClr val="00148C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74" name="Shape 74"/>
            <p:cNvSpPr/>
            <p:nvPr/>
          </p:nvSpPr>
          <p:spPr>
            <a:xfrm>
              <a:off x="4066506" y="112019"/>
              <a:ext cx="454420" cy="6425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951" y="18189"/>
                  </a:moveTo>
                  <a:cubicBezTo>
                    <a:pt x="14668" y="18189"/>
                    <a:pt x="16074" y="15987"/>
                    <a:pt x="16074" y="13642"/>
                  </a:cubicBezTo>
                  <a:cubicBezTo>
                    <a:pt x="16074" y="11155"/>
                    <a:pt x="15070" y="8597"/>
                    <a:pt x="11051" y="8597"/>
                  </a:cubicBezTo>
                  <a:cubicBezTo>
                    <a:pt x="7334" y="8597"/>
                    <a:pt x="6128" y="10942"/>
                    <a:pt x="6128" y="13429"/>
                  </a:cubicBezTo>
                  <a:cubicBezTo>
                    <a:pt x="6128" y="15347"/>
                    <a:pt x="7133" y="18189"/>
                    <a:pt x="10951" y="18189"/>
                  </a:cubicBezTo>
                  <a:moveTo>
                    <a:pt x="21600" y="21174"/>
                  </a:moveTo>
                  <a:lnTo>
                    <a:pt x="15873" y="21174"/>
                  </a:lnTo>
                  <a:lnTo>
                    <a:pt x="15873" y="19184"/>
                  </a:lnTo>
                  <a:lnTo>
                    <a:pt x="15773" y="19184"/>
                  </a:lnTo>
                  <a:cubicBezTo>
                    <a:pt x="14367" y="20961"/>
                    <a:pt x="11754" y="21600"/>
                    <a:pt x="9343" y="21600"/>
                  </a:cubicBezTo>
                  <a:cubicBezTo>
                    <a:pt x="2813" y="21600"/>
                    <a:pt x="0" y="17479"/>
                    <a:pt x="0" y="13145"/>
                  </a:cubicBezTo>
                  <a:cubicBezTo>
                    <a:pt x="0" y="7745"/>
                    <a:pt x="4320" y="5045"/>
                    <a:pt x="9142" y="5045"/>
                  </a:cubicBezTo>
                  <a:cubicBezTo>
                    <a:pt x="12860" y="5045"/>
                    <a:pt x="14668" y="6466"/>
                    <a:pt x="15572" y="7461"/>
                  </a:cubicBezTo>
                  <a:lnTo>
                    <a:pt x="15673" y="7461"/>
                  </a:lnTo>
                  <a:lnTo>
                    <a:pt x="15673" y="0"/>
                  </a:lnTo>
                  <a:lnTo>
                    <a:pt x="21500" y="0"/>
                  </a:lnTo>
                  <a:lnTo>
                    <a:pt x="21500" y="21174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algn="l" defTabSz="914400">
                <a:spcBef>
                  <a:spcPts val="600"/>
                </a:spcBef>
                <a:defRPr sz="1800" b="1">
                  <a:solidFill>
                    <a:srgbClr val="00148C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sp>
        <p:nvSpPr>
          <p:cNvPr id="30" name="Shape 91">
            <a:extLst>
              <a:ext uri="{FF2B5EF4-FFF2-40B4-BE49-F238E27FC236}">
                <a16:creationId xmlns:a16="http://schemas.microsoft.com/office/drawing/2014/main" id="{AA98AD16-B4BA-4F6A-A764-90D2F43D8AC1}"/>
              </a:ext>
            </a:extLst>
          </p:cNvPr>
          <p:cNvSpPr/>
          <p:nvPr/>
        </p:nvSpPr>
        <p:spPr>
          <a:xfrm>
            <a:off x="1063210" y="4966698"/>
            <a:ext cx="17685766" cy="10098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noAutofit/>
          </a:bodyPr>
          <a:lstStyle/>
          <a:p>
            <a:pPr algn="l" defTabSz="457200">
              <a:spcBef>
                <a:spcPts val="600"/>
              </a:spcBef>
              <a:spcAft>
                <a:spcPts val="600"/>
              </a:spcAft>
              <a:defRPr sz="3300">
                <a:solidFill>
                  <a:srgbClr val="53585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7200" b="1" dirty="0">
                <a:solidFill>
                  <a:schemeClr val="bg1"/>
                </a:solidFill>
              </a:rPr>
              <a:t>www.ngrid.com/ma-evcharging</a:t>
            </a:r>
          </a:p>
          <a:p>
            <a:pPr algn="l" defTabSz="457200">
              <a:spcBef>
                <a:spcPts val="600"/>
              </a:spcBef>
              <a:spcAft>
                <a:spcPts val="600"/>
              </a:spcAft>
              <a:defRPr sz="3300">
                <a:solidFill>
                  <a:srgbClr val="53585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7200" b="1" dirty="0">
                <a:solidFill>
                  <a:schemeClr val="bg1"/>
                </a:solidFill>
              </a:rPr>
              <a:t>www.ngrid.com/ri-evcharging</a:t>
            </a:r>
          </a:p>
          <a:p>
            <a:pPr algn="l" defTabSz="457200">
              <a:spcBef>
                <a:spcPts val="600"/>
              </a:spcBef>
              <a:spcAft>
                <a:spcPts val="600"/>
              </a:spcAft>
              <a:defRPr sz="3300">
                <a:solidFill>
                  <a:srgbClr val="53585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n-US" sz="7200" b="1" dirty="0">
                <a:solidFill>
                  <a:schemeClr val="bg1"/>
                </a:solidFill>
              </a:rPr>
              <a:t>EVNationalGrid@nationalgrid.com</a:t>
            </a:r>
          </a:p>
        </p:txBody>
      </p:sp>
    </p:spTree>
    <p:extLst>
      <p:ext uri="{BB962C8B-B14F-4D97-AF65-F5344CB8AC3E}">
        <p14:creationId xmlns:p14="http://schemas.microsoft.com/office/powerpoint/2010/main" val="3024597596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CqTIEhLU.P38cUsTTva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CqTIEhLU.P38cUsTTvaA"/>
</p:tagLst>
</file>

<file path=ppt/theme/theme1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0F0F0"/>
      </a:lt1>
      <a:dk2>
        <a:srgbClr val="A7A7A7"/>
      </a:dk2>
      <a:lt2>
        <a:srgbClr val="535353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"/>
        <a:ea typeface="Helvetica"/>
        <a:cs typeface="Helvetica"/>
      </a:majorFont>
      <a:minorFont>
        <a:latin typeface="Helvetica Neue"/>
        <a:ea typeface="Helvetica Neue"/>
        <a:cs typeface="Helvetica Neue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Light"/>
            <a:ea typeface="Helvetica Light"/>
            <a:cs typeface="Helvetica Light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Light"/>
            <a:ea typeface="Helvetica Light"/>
            <a:cs typeface="Helvetica Light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"/>
        <a:ea typeface="Helvetica"/>
        <a:cs typeface="Helvetica"/>
      </a:majorFont>
      <a:minorFont>
        <a:latin typeface="Helvetica Neue"/>
        <a:ea typeface="Helvetica Neue"/>
        <a:cs typeface="Helvetica Neue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Light"/>
            <a:ea typeface="Helvetica Light"/>
            <a:cs typeface="Helvetica Light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Light"/>
            <a:ea typeface="Helvetica Light"/>
            <a:cs typeface="Helvetica Light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05</TotalTime>
  <Words>215</Words>
  <Application>Microsoft Office PowerPoint</Application>
  <PresentationFormat>Custom</PresentationFormat>
  <Paragraphs>38</Paragraphs>
  <Slides>5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ＭＳ Ｐゴシック</vt:lpstr>
      <vt:lpstr>Arial</vt:lpstr>
      <vt:lpstr>Helvetica</vt:lpstr>
      <vt:lpstr>Helvetica Light</vt:lpstr>
      <vt:lpstr>Helvetica Neue</vt:lpstr>
      <vt:lpstr>Wingdings</vt:lpstr>
      <vt:lpstr>Whit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ly Emmanuel</dc:creator>
  <cp:lastModifiedBy>Siegal, Mark</cp:lastModifiedBy>
  <cp:revision>86</cp:revision>
  <dcterms:modified xsi:type="dcterms:W3CDTF">2019-10-06T20:57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3" name="_NewReviewCycle">
    <vt:lpwstr/>
  </property>
</Properties>
</file>